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3" r:id="rId4"/>
    <p:sldMasterId id="2147483693" r:id="rId5"/>
    <p:sldMasterId id="2147483708" r:id="rId6"/>
  </p:sldMasterIdLst>
  <p:notesMasterIdLst>
    <p:notesMasterId r:id="rId40"/>
  </p:notesMasterIdLst>
  <p:sldIdLst>
    <p:sldId id="754" r:id="rId7"/>
    <p:sldId id="755" r:id="rId8"/>
    <p:sldId id="756" r:id="rId9"/>
    <p:sldId id="256" r:id="rId10"/>
    <p:sldId id="267" r:id="rId11"/>
    <p:sldId id="757" r:id="rId12"/>
    <p:sldId id="324" r:id="rId13"/>
    <p:sldId id="345" r:id="rId14"/>
    <p:sldId id="356" r:id="rId15"/>
    <p:sldId id="352" r:id="rId16"/>
    <p:sldId id="758" r:id="rId17"/>
    <p:sldId id="3709" r:id="rId18"/>
    <p:sldId id="3706" r:id="rId19"/>
    <p:sldId id="3707" r:id="rId20"/>
    <p:sldId id="3708" r:id="rId21"/>
    <p:sldId id="3710" r:id="rId22"/>
    <p:sldId id="3712" r:id="rId23"/>
    <p:sldId id="3713" r:id="rId24"/>
    <p:sldId id="3714" r:id="rId25"/>
    <p:sldId id="3715" r:id="rId26"/>
    <p:sldId id="3716" r:id="rId27"/>
    <p:sldId id="3717" r:id="rId28"/>
    <p:sldId id="3718" r:id="rId29"/>
    <p:sldId id="3721" r:id="rId30"/>
    <p:sldId id="3722" r:id="rId31"/>
    <p:sldId id="3723" r:id="rId32"/>
    <p:sldId id="3725" r:id="rId33"/>
    <p:sldId id="3726" r:id="rId34"/>
    <p:sldId id="3719" r:id="rId35"/>
    <p:sldId id="3720" r:id="rId36"/>
    <p:sldId id="3477" r:id="rId37"/>
    <p:sldId id="1040" r:id="rId38"/>
    <p:sldId id="3484" r:id="rId39"/>
  </p:sldIdLst>
  <p:sldSz cx="12192000" cy="6858000"/>
  <p:notesSz cx="7315200" cy="96012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ong Chun Yew" initials="CCY" lastIdx="1" clrIdx="0">
    <p:extLst>
      <p:ext uri="{19B8F6BF-5375-455C-9EA6-DF929625EA0E}">
        <p15:presenceInfo xmlns:p15="http://schemas.microsoft.com/office/powerpoint/2012/main" userId="S::cychong@gradiant.com::c6919947-5701-4a0a-b683-a5662361eb0f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77C244"/>
    <a:srgbClr val="7FCA20"/>
    <a:srgbClr val="1567C7"/>
    <a:srgbClr val="02C1D3"/>
    <a:srgbClr val="75C04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3D347DA-9468-406B-8418-3B649FF73DBD}" v="29" dt="2023-04-25T05:36:50.52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255" autoAdjust="0"/>
    <p:restoredTop sz="94660"/>
  </p:normalViewPr>
  <p:slideViewPr>
    <p:cSldViewPr snapToGrid="0">
      <p:cViewPr varScale="1">
        <p:scale>
          <a:sx n="83" d="100"/>
          <a:sy n="83" d="100"/>
        </p:scale>
        <p:origin x="998" y="-2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presProps" Target="presProps.xml"/><Relationship Id="rId47" Type="http://schemas.microsoft.com/office/2015/10/relationships/revisionInfo" Target="revisionInfo.xml"/><Relationship Id="rId7" Type="http://schemas.openxmlformats.org/officeDocument/2006/relationships/slide" Target="slides/slid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notesMaster" Target="notesMasters/notesMaster1.xml"/><Relationship Id="rId45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viewProps" Target="viewProps.xml"/><Relationship Id="rId8" Type="http://schemas.openxmlformats.org/officeDocument/2006/relationships/slide" Target="slides/slide2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microsoft.com/office/2016/11/relationships/changesInfo" Target="changesInfos/changesInfo1.xml"/><Relationship Id="rId20" Type="http://schemas.openxmlformats.org/officeDocument/2006/relationships/slide" Target="slides/slide14.xml"/><Relationship Id="rId41" Type="http://schemas.openxmlformats.org/officeDocument/2006/relationships/commentAuthors" Target="comment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iva Kumar Kota" userId="8cadb4c2-62b7-4d45-8089-660ce4513362" providerId="ADAL" clId="{33D347DA-9468-406B-8418-3B649FF73DBD}"/>
    <pc:docChg chg="undo custSel addSld delSld modSld sldOrd">
      <pc:chgData name="Siva Kumar Kota" userId="8cadb4c2-62b7-4d45-8089-660ce4513362" providerId="ADAL" clId="{33D347DA-9468-406B-8418-3B649FF73DBD}" dt="2023-04-25T05:37:28.341" v="1327" actId="1076"/>
      <pc:docMkLst>
        <pc:docMk/>
      </pc:docMkLst>
      <pc:sldChg chg="add del">
        <pc:chgData name="Siva Kumar Kota" userId="8cadb4c2-62b7-4d45-8089-660ce4513362" providerId="ADAL" clId="{33D347DA-9468-406B-8418-3B649FF73DBD}" dt="2023-04-25T04:21:08.383" v="657" actId="47"/>
        <pc:sldMkLst>
          <pc:docMk/>
          <pc:sldMk cId="3719736736" sldId="329"/>
        </pc:sldMkLst>
      </pc:sldChg>
      <pc:sldChg chg="add del">
        <pc:chgData name="Siva Kumar Kota" userId="8cadb4c2-62b7-4d45-8089-660ce4513362" providerId="ADAL" clId="{33D347DA-9468-406B-8418-3B649FF73DBD}" dt="2023-04-25T04:24:24.123" v="694" actId="47"/>
        <pc:sldMkLst>
          <pc:docMk/>
          <pc:sldMk cId="2844708228" sldId="330"/>
        </pc:sldMkLst>
      </pc:sldChg>
      <pc:sldChg chg="add del">
        <pc:chgData name="Siva Kumar Kota" userId="8cadb4c2-62b7-4d45-8089-660ce4513362" providerId="ADAL" clId="{33D347DA-9468-406B-8418-3B649FF73DBD}" dt="2023-04-25T04:21:06.848" v="656" actId="47"/>
        <pc:sldMkLst>
          <pc:docMk/>
          <pc:sldMk cId="356443904" sldId="332"/>
        </pc:sldMkLst>
      </pc:sldChg>
      <pc:sldChg chg="add del">
        <pc:chgData name="Siva Kumar Kota" userId="8cadb4c2-62b7-4d45-8089-660ce4513362" providerId="ADAL" clId="{33D347DA-9468-406B-8418-3B649FF73DBD}" dt="2023-04-25T04:24:26.364" v="695" actId="47"/>
        <pc:sldMkLst>
          <pc:docMk/>
          <pc:sldMk cId="1882816736" sldId="334"/>
        </pc:sldMkLst>
      </pc:sldChg>
      <pc:sldChg chg="add del">
        <pc:chgData name="Siva Kumar Kota" userId="8cadb4c2-62b7-4d45-8089-660ce4513362" providerId="ADAL" clId="{33D347DA-9468-406B-8418-3B649FF73DBD}" dt="2023-04-25T04:28:58.470" v="757" actId="47"/>
        <pc:sldMkLst>
          <pc:docMk/>
          <pc:sldMk cId="2915757279" sldId="335"/>
        </pc:sldMkLst>
      </pc:sldChg>
      <pc:sldChg chg="modSp add del mod">
        <pc:chgData name="Siva Kumar Kota" userId="8cadb4c2-62b7-4d45-8089-660ce4513362" providerId="ADAL" clId="{33D347DA-9468-406B-8418-3B649FF73DBD}" dt="2023-04-25T04:28:52.632" v="754" actId="47"/>
        <pc:sldMkLst>
          <pc:docMk/>
          <pc:sldMk cId="636999281" sldId="336"/>
        </pc:sldMkLst>
        <pc:spChg chg="mod">
          <ac:chgData name="Siva Kumar Kota" userId="8cadb4c2-62b7-4d45-8089-660ce4513362" providerId="ADAL" clId="{33D347DA-9468-406B-8418-3B649FF73DBD}" dt="2023-04-25T04:28:50.176" v="753" actId="6549"/>
          <ac:spMkLst>
            <pc:docMk/>
            <pc:sldMk cId="636999281" sldId="336"/>
            <ac:spMk id="2" creationId="{928C7003-9D2E-6DAF-E7D4-48E7664894C4}"/>
          </ac:spMkLst>
        </pc:spChg>
      </pc:sldChg>
      <pc:sldChg chg="add del">
        <pc:chgData name="Siva Kumar Kota" userId="8cadb4c2-62b7-4d45-8089-660ce4513362" providerId="ADAL" clId="{33D347DA-9468-406B-8418-3B649FF73DBD}" dt="2023-04-25T04:24:29.530" v="696" actId="47"/>
        <pc:sldMkLst>
          <pc:docMk/>
          <pc:sldMk cId="3190739024" sldId="337"/>
        </pc:sldMkLst>
      </pc:sldChg>
      <pc:sldChg chg="add del ord">
        <pc:chgData name="Siva Kumar Kota" userId="8cadb4c2-62b7-4d45-8089-660ce4513362" providerId="ADAL" clId="{33D347DA-9468-406B-8418-3B649FF73DBD}" dt="2023-04-25T04:38:02.026" v="925" actId="47"/>
        <pc:sldMkLst>
          <pc:docMk/>
          <pc:sldMk cId="312814639" sldId="338"/>
        </pc:sldMkLst>
      </pc:sldChg>
      <pc:sldChg chg="add del">
        <pc:chgData name="Siva Kumar Kota" userId="8cadb4c2-62b7-4d45-8089-660ce4513362" providerId="ADAL" clId="{33D347DA-9468-406B-8418-3B649FF73DBD}" dt="2023-04-25T04:28:35.772" v="751" actId="47"/>
        <pc:sldMkLst>
          <pc:docMk/>
          <pc:sldMk cId="3874470118" sldId="340"/>
        </pc:sldMkLst>
      </pc:sldChg>
      <pc:sldChg chg="add del">
        <pc:chgData name="Siva Kumar Kota" userId="8cadb4c2-62b7-4d45-8089-660ce4513362" providerId="ADAL" clId="{33D347DA-9468-406B-8418-3B649FF73DBD}" dt="2023-04-25T04:38:00.406" v="924" actId="47"/>
        <pc:sldMkLst>
          <pc:docMk/>
          <pc:sldMk cId="3397591659" sldId="341"/>
        </pc:sldMkLst>
      </pc:sldChg>
      <pc:sldChg chg="addSp modSp mod">
        <pc:chgData name="Siva Kumar Kota" userId="8cadb4c2-62b7-4d45-8089-660ce4513362" providerId="ADAL" clId="{33D347DA-9468-406B-8418-3B649FF73DBD}" dt="2023-04-25T05:37:28.341" v="1327" actId="1076"/>
        <pc:sldMkLst>
          <pc:docMk/>
          <pc:sldMk cId="729748121" sldId="3708"/>
        </pc:sldMkLst>
        <pc:spChg chg="add mod">
          <ac:chgData name="Siva Kumar Kota" userId="8cadb4c2-62b7-4d45-8089-660ce4513362" providerId="ADAL" clId="{33D347DA-9468-406B-8418-3B649FF73DBD}" dt="2023-04-25T05:37:28.341" v="1327" actId="1076"/>
          <ac:spMkLst>
            <pc:docMk/>
            <pc:sldMk cId="729748121" sldId="3708"/>
            <ac:spMk id="2" creationId="{B44BC1D8-A3EE-709B-191D-A6C60D55C89D}"/>
          </ac:spMkLst>
        </pc:spChg>
        <pc:graphicFrameChg chg="modGraphic">
          <ac:chgData name="Siva Kumar Kota" userId="8cadb4c2-62b7-4d45-8089-660ce4513362" providerId="ADAL" clId="{33D347DA-9468-406B-8418-3B649FF73DBD}" dt="2023-04-25T05:36:46.139" v="1284" actId="20577"/>
          <ac:graphicFrameMkLst>
            <pc:docMk/>
            <pc:sldMk cId="729748121" sldId="3708"/>
            <ac:graphicFrameMk id="5" creationId="{A6F1B670-7E3C-302D-FABF-D32F2206B265}"/>
          </ac:graphicFrameMkLst>
        </pc:graphicFrameChg>
      </pc:sldChg>
      <pc:sldChg chg="addSp modSp mod">
        <pc:chgData name="Siva Kumar Kota" userId="8cadb4c2-62b7-4d45-8089-660ce4513362" providerId="ADAL" clId="{33D347DA-9468-406B-8418-3B649FF73DBD}" dt="2023-04-25T04:38:47.211" v="933" actId="1076"/>
        <pc:sldMkLst>
          <pc:docMk/>
          <pc:sldMk cId="1021597952" sldId="3718"/>
        </pc:sldMkLst>
        <pc:graphicFrameChg chg="mod modGraphic">
          <ac:chgData name="Siva Kumar Kota" userId="8cadb4c2-62b7-4d45-8089-660ce4513362" providerId="ADAL" clId="{33D347DA-9468-406B-8418-3B649FF73DBD}" dt="2023-04-25T04:38:47.211" v="933" actId="1076"/>
          <ac:graphicFrameMkLst>
            <pc:docMk/>
            <pc:sldMk cId="1021597952" sldId="3718"/>
            <ac:graphicFrameMk id="2" creationId="{F216485B-9A9A-3D2C-B315-21A823488F48}"/>
          </ac:graphicFrameMkLst>
        </pc:graphicFrameChg>
        <pc:picChg chg="add mod">
          <ac:chgData name="Siva Kumar Kota" userId="8cadb4c2-62b7-4d45-8089-660ce4513362" providerId="ADAL" clId="{33D347DA-9468-406B-8418-3B649FF73DBD}" dt="2023-04-25T04:38:42.938" v="932" actId="1076"/>
          <ac:picMkLst>
            <pc:docMk/>
            <pc:sldMk cId="1021597952" sldId="3718"/>
            <ac:picMk id="4" creationId="{B09B2577-B697-FE54-F9E4-AFEC695D727F}"/>
          </ac:picMkLst>
        </pc:picChg>
      </pc:sldChg>
      <pc:sldChg chg="delSp modSp mod">
        <pc:chgData name="Siva Kumar Kota" userId="8cadb4c2-62b7-4d45-8089-660ce4513362" providerId="ADAL" clId="{33D347DA-9468-406B-8418-3B649FF73DBD}" dt="2023-04-25T04:42:31.606" v="1189" actId="20577"/>
        <pc:sldMkLst>
          <pc:docMk/>
          <pc:sldMk cId="2375923571" sldId="3719"/>
        </pc:sldMkLst>
        <pc:spChg chg="mod">
          <ac:chgData name="Siva Kumar Kota" userId="8cadb4c2-62b7-4d45-8089-660ce4513362" providerId="ADAL" clId="{33D347DA-9468-406B-8418-3B649FF73DBD}" dt="2023-04-25T04:42:31.606" v="1189" actId="20577"/>
          <ac:spMkLst>
            <pc:docMk/>
            <pc:sldMk cId="2375923571" sldId="3719"/>
            <ac:spMk id="9" creationId="{A71F1D78-DB66-C268-DB5A-EF276CF9B153}"/>
          </ac:spMkLst>
        </pc:spChg>
        <pc:picChg chg="del">
          <ac:chgData name="Siva Kumar Kota" userId="8cadb4c2-62b7-4d45-8089-660ce4513362" providerId="ADAL" clId="{33D347DA-9468-406B-8418-3B649FF73DBD}" dt="2023-04-25T04:38:31.938" v="928" actId="21"/>
          <ac:picMkLst>
            <pc:docMk/>
            <pc:sldMk cId="2375923571" sldId="3719"/>
            <ac:picMk id="4" creationId="{7F562254-F368-5A5F-236B-4C650CE1D813}"/>
          </ac:picMkLst>
        </pc:picChg>
      </pc:sldChg>
      <pc:sldChg chg="delSp modSp add mod">
        <pc:chgData name="Siva Kumar Kota" userId="8cadb4c2-62b7-4d45-8089-660ce4513362" providerId="ADAL" clId="{33D347DA-9468-406B-8418-3B649FF73DBD}" dt="2023-04-25T04:29:31.275" v="763" actId="20577"/>
        <pc:sldMkLst>
          <pc:docMk/>
          <pc:sldMk cId="1105911489" sldId="3721"/>
        </pc:sldMkLst>
        <pc:spChg chg="mod">
          <ac:chgData name="Siva Kumar Kota" userId="8cadb4c2-62b7-4d45-8089-660ce4513362" providerId="ADAL" clId="{33D347DA-9468-406B-8418-3B649FF73DBD}" dt="2023-04-25T04:29:31.275" v="763" actId="20577"/>
          <ac:spMkLst>
            <pc:docMk/>
            <pc:sldMk cId="1105911489" sldId="3721"/>
            <ac:spMk id="3" creationId="{5402C1FA-75A3-4F2B-AF7C-E705A74C675A}"/>
          </ac:spMkLst>
        </pc:spChg>
        <pc:picChg chg="del">
          <ac:chgData name="Siva Kumar Kota" userId="8cadb4c2-62b7-4d45-8089-660ce4513362" providerId="ADAL" clId="{33D347DA-9468-406B-8418-3B649FF73DBD}" dt="2023-04-25T03:26:29.587" v="149" actId="478"/>
          <ac:picMkLst>
            <pc:docMk/>
            <pc:sldMk cId="1105911489" sldId="3721"/>
            <ac:picMk id="4" creationId="{13C09616-1BC7-D195-F979-637A88FC9509}"/>
          </ac:picMkLst>
        </pc:picChg>
        <pc:picChg chg="del">
          <ac:chgData name="Siva Kumar Kota" userId="8cadb4c2-62b7-4d45-8089-660ce4513362" providerId="ADAL" clId="{33D347DA-9468-406B-8418-3B649FF73DBD}" dt="2023-04-25T03:26:30.338" v="150" actId="478"/>
          <ac:picMkLst>
            <pc:docMk/>
            <pc:sldMk cId="1105911489" sldId="3721"/>
            <ac:picMk id="7" creationId="{733E03E1-01DA-F9BC-EB96-1B0DF0D2708F}"/>
          </ac:picMkLst>
        </pc:picChg>
        <pc:picChg chg="del">
          <ac:chgData name="Siva Kumar Kota" userId="8cadb4c2-62b7-4d45-8089-660ce4513362" providerId="ADAL" clId="{33D347DA-9468-406B-8418-3B649FF73DBD}" dt="2023-04-25T03:26:31.231" v="151" actId="478"/>
          <ac:picMkLst>
            <pc:docMk/>
            <pc:sldMk cId="1105911489" sldId="3721"/>
            <ac:picMk id="8" creationId="{BF718B16-4C3C-313D-0E38-4A764BC113DC}"/>
          </ac:picMkLst>
        </pc:picChg>
      </pc:sldChg>
      <pc:sldChg chg="addSp delSp modSp add mod">
        <pc:chgData name="Siva Kumar Kota" userId="8cadb4c2-62b7-4d45-8089-660ce4513362" providerId="ADAL" clId="{33D347DA-9468-406B-8418-3B649FF73DBD}" dt="2023-04-25T05:32:43.493" v="1227" actId="20577"/>
        <pc:sldMkLst>
          <pc:docMk/>
          <pc:sldMk cId="2034768077" sldId="3722"/>
        </pc:sldMkLst>
        <pc:spChg chg="mod">
          <ac:chgData name="Siva Kumar Kota" userId="8cadb4c2-62b7-4d45-8089-660ce4513362" providerId="ADAL" clId="{33D347DA-9468-406B-8418-3B649FF73DBD}" dt="2023-04-25T05:32:26.706" v="1207" actId="20577"/>
          <ac:spMkLst>
            <pc:docMk/>
            <pc:sldMk cId="2034768077" sldId="3722"/>
            <ac:spMk id="3" creationId="{F8E01EFA-4F10-F218-ADEC-39A267C5FD8F}"/>
          </ac:spMkLst>
        </pc:spChg>
        <pc:spChg chg="del">
          <ac:chgData name="Siva Kumar Kota" userId="8cadb4c2-62b7-4d45-8089-660ce4513362" providerId="ADAL" clId="{33D347DA-9468-406B-8418-3B649FF73DBD}" dt="2023-04-25T03:31:00.669" v="153" actId="478"/>
          <ac:spMkLst>
            <pc:docMk/>
            <pc:sldMk cId="2034768077" sldId="3722"/>
            <ac:spMk id="4" creationId="{EB661DA6-FC80-A36A-0EC8-5B34554FD792}"/>
          </ac:spMkLst>
        </pc:spChg>
        <pc:spChg chg="add mod">
          <ac:chgData name="Siva Kumar Kota" userId="8cadb4c2-62b7-4d45-8089-660ce4513362" providerId="ADAL" clId="{33D347DA-9468-406B-8418-3B649FF73DBD}" dt="2023-04-25T05:32:43.493" v="1227" actId="20577"/>
          <ac:spMkLst>
            <pc:docMk/>
            <pc:sldMk cId="2034768077" sldId="3722"/>
            <ac:spMk id="11" creationId="{2B0C3F11-AE55-3B4D-E055-96F602110197}"/>
          </ac:spMkLst>
        </pc:spChg>
        <pc:graphicFrameChg chg="del">
          <ac:chgData name="Siva Kumar Kota" userId="8cadb4c2-62b7-4d45-8089-660ce4513362" providerId="ADAL" clId="{33D347DA-9468-406B-8418-3B649FF73DBD}" dt="2023-04-25T03:31:00.669" v="153" actId="478"/>
          <ac:graphicFrameMkLst>
            <pc:docMk/>
            <pc:sldMk cId="2034768077" sldId="3722"/>
            <ac:graphicFrameMk id="2" creationId="{4040C042-A2A5-660E-BD58-CE55C1E7D442}"/>
          </ac:graphicFrameMkLst>
        </pc:graphicFrameChg>
        <pc:graphicFrameChg chg="del">
          <ac:chgData name="Siva Kumar Kota" userId="8cadb4c2-62b7-4d45-8089-660ce4513362" providerId="ADAL" clId="{33D347DA-9468-406B-8418-3B649FF73DBD}" dt="2023-04-25T03:31:00.669" v="153" actId="478"/>
          <ac:graphicFrameMkLst>
            <pc:docMk/>
            <pc:sldMk cId="2034768077" sldId="3722"/>
            <ac:graphicFrameMk id="6" creationId="{927AB8CE-3177-6E71-976E-8F58D4F5ACCD}"/>
          </ac:graphicFrameMkLst>
        </pc:graphicFrameChg>
        <pc:picChg chg="add del mod">
          <ac:chgData name="Siva Kumar Kota" userId="8cadb4c2-62b7-4d45-8089-660ce4513362" providerId="ADAL" clId="{33D347DA-9468-406B-8418-3B649FF73DBD}" dt="2023-04-25T03:33:05.781" v="156" actId="478"/>
          <ac:picMkLst>
            <pc:docMk/>
            <pc:sldMk cId="2034768077" sldId="3722"/>
            <ac:picMk id="5" creationId="{B1AD79DB-9588-A4C4-08DA-0A5B9A062D58}"/>
          </ac:picMkLst>
        </pc:picChg>
        <pc:picChg chg="add mod">
          <ac:chgData name="Siva Kumar Kota" userId="8cadb4c2-62b7-4d45-8089-660ce4513362" providerId="ADAL" clId="{33D347DA-9468-406B-8418-3B649FF73DBD}" dt="2023-04-25T03:36:23.744" v="393" actId="962"/>
          <ac:picMkLst>
            <pc:docMk/>
            <pc:sldMk cId="2034768077" sldId="3722"/>
            <ac:picMk id="8" creationId="{33B2696A-E5AA-815E-20FC-5F576E94DFF3}"/>
          </ac:picMkLst>
        </pc:picChg>
      </pc:sldChg>
      <pc:sldChg chg="addSp delSp modSp add mod">
        <pc:chgData name="Siva Kumar Kota" userId="8cadb4c2-62b7-4d45-8089-660ce4513362" providerId="ADAL" clId="{33D347DA-9468-406B-8418-3B649FF73DBD}" dt="2023-04-25T04:20:59.811" v="655" actId="1076"/>
        <pc:sldMkLst>
          <pc:docMk/>
          <pc:sldMk cId="1975043334" sldId="3723"/>
        </pc:sldMkLst>
        <pc:spChg chg="mod">
          <ac:chgData name="Siva Kumar Kota" userId="8cadb4c2-62b7-4d45-8089-660ce4513362" providerId="ADAL" clId="{33D347DA-9468-406B-8418-3B649FF73DBD}" dt="2023-04-25T04:13:54.605" v="516" actId="20577"/>
          <ac:spMkLst>
            <pc:docMk/>
            <pc:sldMk cId="1975043334" sldId="3723"/>
            <ac:spMk id="3" creationId="{F8E01EFA-4F10-F218-ADEC-39A267C5FD8F}"/>
          </ac:spMkLst>
        </pc:spChg>
        <pc:spChg chg="add del">
          <ac:chgData name="Siva Kumar Kota" userId="8cadb4c2-62b7-4d45-8089-660ce4513362" providerId="ADAL" clId="{33D347DA-9468-406B-8418-3B649FF73DBD}" dt="2023-04-25T04:14:17.679" v="520" actId="22"/>
          <ac:spMkLst>
            <pc:docMk/>
            <pc:sldMk cId="1975043334" sldId="3723"/>
            <ac:spMk id="4" creationId="{54050BD7-6011-F134-D58C-279B16D1E8C0}"/>
          </ac:spMkLst>
        </pc:spChg>
        <pc:spChg chg="add mod ord">
          <ac:chgData name="Siva Kumar Kota" userId="8cadb4c2-62b7-4d45-8089-660ce4513362" providerId="ADAL" clId="{33D347DA-9468-406B-8418-3B649FF73DBD}" dt="2023-04-25T04:20:48.428" v="652" actId="1076"/>
          <ac:spMkLst>
            <pc:docMk/>
            <pc:sldMk cId="1975043334" sldId="3723"/>
            <ac:spMk id="6" creationId="{FD2BEA59-CD05-FAD6-F0FC-BE9DBE78D38D}"/>
          </ac:spMkLst>
        </pc:spChg>
        <pc:spChg chg="add del mod">
          <ac:chgData name="Siva Kumar Kota" userId="8cadb4c2-62b7-4d45-8089-660ce4513362" providerId="ADAL" clId="{33D347DA-9468-406B-8418-3B649FF73DBD}" dt="2023-04-25T04:20:37.786" v="649" actId="478"/>
          <ac:spMkLst>
            <pc:docMk/>
            <pc:sldMk cId="1975043334" sldId="3723"/>
            <ac:spMk id="7" creationId="{60A76C9D-23D7-2193-0447-163E7ABEC499}"/>
          </ac:spMkLst>
        </pc:spChg>
        <pc:spChg chg="add mod ord">
          <ac:chgData name="Siva Kumar Kota" userId="8cadb4c2-62b7-4d45-8089-660ce4513362" providerId="ADAL" clId="{33D347DA-9468-406B-8418-3B649FF73DBD}" dt="2023-04-25T04:20:59.811" v="655" actId="1076"/>
          <ac:spMkLst>
            <pc:docMk/>
            <pc:sldMk cId="1975043334" sldId="3723"/>
            <ac:spMk id="9" creationId="{9C267AFD-E311-BC18-CEA0-DA3F0A93DF8F}"/>
          </ac:spMkLst>
        </pc:spChg>
        <pc:spChg chg="add del mod">
          <ac:chgData name="Siva Kumar Kota" userId="8cadb4c2-62b7-4d45-8089-660ce4513362" providerId="ADAL" clId="{33D347DA-9468-406B-8418-3B649FF73DBD}" dt="2023-04-25T04:17:51.555" v="599" actId="20577"/>
          <ac:spMkLst>
            <pc:docMk/>
            <pc:sldMk cId="1975043334" sldId="3723"/>
            <ac:spMk id="11" creationId="{2B0C3F11-AE55-3B4D-E055-96F602110197}"/>
          </ac:spMkLst>
        </pc:spChg>
        <pc:picChg chg="add del mod">
          <ac:chgData name="Siva Kumar Kota" userId="8cadb4c2-62b7-4d45-8089-660ce4513362" providerId="ADAL" clId="{33D347DA-9468-406B-8418-3B649FF73DBD}" dt="2023-04-25T04:20:39.620" v="650" actId="478"/>
          <ac:picMkLst>
            <pc:docMk/>
            <pc:sldMk cId="1975043334" sldId="3723"/>
            <ac:picMk id="5" creationId="{AA873786-E489-8769-F823-B445EB42D586}"/>
          </ac:picMkLst>
        </pc:picChg>
        <pc:picChg chg="add del">
          <ac:chgData name="Siva Kumar Kota" userId="8cadb4c2-62b7-4d45-8089-660ce4513362" providerId="ADAL" clId="{33D347DA-9468-406B-8418-3B649FF73DBD}" dt="2023-04-25T04:14:25.855" v="524" actId="478"/>
          <ac:picMkLst>
            <pc:docMk/>
            <pc:sldMk cId="1975043334" sldId="3723"/>
            <ac:picMk id="8" creationId="{33B2696A-E5AA-815E-20FC-5F576E94DFF3}"/>
          </ac:picMkLst>
        </pc:picChg>
        <pc:picChg chg="add mod">
          <ac:chgData name="Siva Kumar Kota" userId="8cadb4c2-62b7-4d45-8089-660ce4513362" providerId="ADAL" clId="{33D347DA-9468-406B-8418-3B649FF73DBD}" dt="2023-04-25T04:20:50.123" v="653" actId="1076"/>
          <ac:picMkLst>
            <pc:docMk/>
            <pc:sldMk cId="1975043334" sldId="3723"/>
            <ac:picMk id="12" creationId="{DA2A4D80-C8E6-8872-71C8-ED6CB25F3943}"/>
          </ac:picMkLst>
        </pc:picChg>
        <pc:picChg chg="add mod">
          <ac:chgData name="Siva Kumar Kota" userId="8cadb4c2-62b7-4d45-8089-660ce4513362" providerId="ADAL" clId="{33D347DA-9468-406B-8418-3B649FF73DBD}" dt="2023-04-25T04:20:42.350" v="651" actId="1076"/>
          <ac:picMkLst>
            <pc:docMk/>
            <pc:sldMk cId="1975043334" sldId="3723"/>
            <ac:picMk id="13" creationId="{EFE49C96-558A-5BA4-8937-EFB3F071E53F}"/>
          </ac:picMkLst>
        </pc:picChg>
      </pc:sldChg>
      <pc:sldChg chg="addSp delSp modSp add del mod">
        <pc:chgData name="Siva Kumar Kota" userId="8cadb4c2-62b7-4d45-8089-660ce4513362" providerId="ADAL" clId="{33D347DA-9468-406B-8418-3B649FF73DBD}" dt="2023-04-25T04:36:43.703" v="905" actId="47"/>
        <pc:sldMkLst>
          <pc:docMk/>
          <pc:sldMk cId="2342849780" sldId="3724"/>
        </pc:sldMkLst>
        <pc:spChg chg="mod">
          <ac:chgData name="Siva Kumar Kota" userId="8cadb4c2-62b7-4d45-8089-660ce4513362" providerId="ADAL" clId="{33D347DA-9468-406B-8418-3B649FF73DBD}" dt="2023-04-25T04:21:44.703" v="665" actId="20577"/>
          <ac:spMkLst>
            <pc:docMk/>
            <pc:sldMk cId="2342849780" sldId="3724"/>
            <ac:spMk id="3" creationId="{F8E01EFA-4F10-F218-ADEC-39A267C5FD8F}"/>
          </ac:spMkLst>
        </pc:spChg>
        <pc:spChg chg="add mod">
          <ac:chgData name="Siva Kumar Kota" userId="8cadb4c2-62b7-4d45-8089-660ce4513362" providerId="ADAL" clId="{33D347DA-9468-406B-8418-3B649FF73DBD}" dt="2023-04-25T04:25:46.944" v="713" actId="313"/>
          <ac:spMkLst>
            <pc:docMk/>
            <pc:sldMk cId="2342849780" sldId="3724"/>
            <ac:spMk id="5" creationId="{A9FBE5EF-91CE-ABCB-8E66-B208C38786EA}"/>
          </ac:spMkLst>
        </pc:spChg>
        <pc:spChg chg="del">
          <ac:chgData name="Siva Kumar Kota" userId="8cadb4c2-62b7-4d45-8089-660ce4513362" providerId="ADAL" clId="{33D347DA-9468-406B-8418-3B649FF73DBD}" dt="2023-04-25T04:22:13.586" v="670" actId="478"/>
          <ac:spMkLst>
            <pc:docMk/>
            <pc:sldMk cId="2342849780" sldId="3724"/>
            <ac:spMk id="6" creationId="{FD2BEA59-CD05-FAD6-F0FC-BE9DBE78D38D}"/>
          </ac:spMkLst>
        </pc:spChg>
        <pc:spChg chg="add del mod">
          <ac:chgData name="Siva Kumar Kota" userId="8cadb4c2-62b7-4d45-8089-660ce4513362" providerId="ADAL" clId="{33D347DA-9468-406B-8418-3B649FF73DBD}" dt="2023-04-25T04:26:48.939" v="716" actId="478"/>
          <ac:spMkLst>
            <pc:docMk/>
            <pc:sldMk cId="2342849780" sldId="3724"/>
            <ac:spMk id="8" creationId="{6B424ABB-91C3-C34D-1692-19E60F5E4D5E}"/>
          </ac:spMkLst>
        </pc:spChg>
        <pc:spChg chg="del">
          <ac:chgData name="Siva Kumar Kota" userId="8cadb4c2-62b7-4d45-8089-660ce4513362" providerId="ADAL" clId="{33D347DA-9468-406B-8418-3B649FF73DBD}" dt="2023-04-25T04:22:11.121" v="669" actId="478"/>
          <ac:spMkLst>
            <pc:docMk/>
            <pc:sldMk cId="2342849780" sldId="3724"/>
            <ac:spMk id="9" creationId="{9C267AFD-E311-BC18-CEA0-DA3F0A93DF8F}"/>
          </ac:spMkLst>
        </pc:spChg>
        <pc:spChg chg="del mod">
          <ac:chgData name="Siva Kumar Kota" userId="8cadb4c2-62b7-4d45-8089-660ce4513362" providerId="ADAL" clId="{33D347DA-9468-406B-8418-3B649FF73DBD}" dt="2023-04-25T04:22:21.810" v="673" actId="478"/>
          <ac:spMkLst>
            <pc:docMk/>
            <pc:sldMk cId="2342849780" sldId="3724"/>
            <ac:spMk id="11" creationId="{2B0C3F11-AE55-3B4D-E055-96F602110197}"/>
          </ac:spMkLst>
        </pc:spChg>
        <pc:graphicFrameChg chg="add del mod modGraphic">
          <ac:chgData name="Siva Kumar Kota" userId="8cadb4c2-62b7-4d45-8089-660ce4513362" providerId="ADAL" clId="{33D347DA-9468-406B-8418-3B649FF73DBD}" dt="2023-04-25T04:26:46.741" v="714" actId="478"/>
          <ac:graphicFrameMkLst>
            <pc:docMk/>
            <pc:sldMk cId="2342849780" sldId="3724"/>
            <ac:graphicFrameMk id="2" creationId="{C2691942-AD82-88E6-C0D9-DC76E605CA24}"/>
          </ac:graphicFrameMkLst>
        </pc:graphicFrameChg>
        <pc:graphicFrameChg chg="add del mod modGraphic">
          <ac:chgData name="Siva Kumar Kota" userId="8cadb4c2-62b7-4d45-8089-660ce4513362" providerId="ADAL" clId="{33D347DA-9468-406B-8418-3B649FF73DBD}" dt="2023-04-25T04:28:19.021" v="750" actId="113"/>
          <ac:graphicFrameMkLst>
            <pc:docMk/>
            <pc:sldMk cId="2342849780" sldId="3724"/>
            <ac:graphicFrameMk id="14" creationId="{0AE77D32-B0F0-B9EB-31C9-D94B0FCD5DFE}"/>
          </ac:graphicFrameMkLst>
        </pc:graphicFrameChg>
        <pc:picChg chg="add mod">
          <ac:chgData name="Siva Kumar Kota" userId="8cadb4c2-62b7-4d45-8089-660ce4513362" providerId="ADAL" clId="{33D347DA-9468-406B-8418-3B649FF73DBD}" dt="2023-04-25T04:25:06.298" v="703" actId="1076"/>
          <ac:picMkLst>
            <pc:docMk/>
            <pc:sldMk cId="2342849780" sldId="3724"/>
            <ac:picMk id="4" creationId="{41070EF5-59F5-47BF-C4ED-D466C4B18CAA}"/>
          </ac:picMkLst>
        </pc:picChg>
        <pc:picChg chg="add del mod">
          <ac:chgData name="Siva Kumar Kota" userId="8cadb4c2-62b7-4d45-8089-660ce4513362" providerId="ADAL" clId="{33D347DA-9468-406B-8418-3B649FF73DBD}" dt="2023-04-25T04:26:48.939" v="716" actId="478"/>
          <ac:picMkLst>
            <pc:docMk/>
            <pc:sldMk cId="2342849780" sldId="3724"/>
            <ac:picMk id="7" creationId="{B15881F8-B10A-A072-37ED-27C77D542893}"/>
          </ac:picMkLst>
        </pc:picChg>
        <pc:picChg chg="del">
          <ac:chgData name="Siva Kumar Kota" userId="8cadb4c2-62b7-4d45-8089-660ce4513362" providerId="ADAL" clId="{33D347DA-9468-406B-8418-3B649FF73DBD}" dt="2023-04-25T04:22:06.577" v="666" actId="478"/>
          <ac:picMkLst>
            <pc:docMk/>
            <pc:sldMk cId="2342849780" sldId="3724"/>
            <ac:picMk id="12" creationId="{DA2A4D80-C8E6-8872-71C8-ED6CB25F3943}"/>
          </ac:picMkLst>
        </pc:picChg>
        <pc:picChg chg="del mod">
          <ac:chgData name="Siva Kumar Kota" userId="8cadb4c2-62b7-4d45-8089-660ce4513362" providerId="ADAL" clId="{33D347DA-9468-406B-8418-3B649FF73DBD}" dt="2023-04-25T04:22:08.756" v="668" actId="478"/>
          <ac:picMkLst>
            <pc:docMk/>
            <pc:sldMk cId="2342849780" sldId="3724"/>
            <ac:picMk id="13" creationId="{EFE49C96-558A-5BA4-8937-EFB3F071E53F}"/>
          </ac:picMkLst>
        </pc:picChg>
      </pc:sldChg>
      <pc:sldChg chg="modSp add mod">
        <pc:chgData name="Siva Kumar Kota" userId="8cadb4c2-62b7-4d45-8089-660ce4513362" providerId="ADAL" clId="{33D347DA-9468-406B-8418-3B649FF73DBD}" dt="2023-04-25T05:34:41.496" v="1278" actId="2165"/>
        <pc:sldMkLst>
          <pc:docMk/>
          <pc:sldMk cId="3734535861" sldId="3725"/>
        </pc:sldMkLst>
        <pc:spChg chg="mod">
          <ac:chgData name="Siva Kumar Kota" userId="8cadb4c2-62b7-4d45-8089-660ce4513362" providerId="ADAL" clId="{33D347DA-9468-406B-8418-3B649FF73DBD}" dt="2023-04-25T05:33:40.309" v="1269" actId="20577"/>
          <ac:spMkLst>
            <pc:docMk/>
            <pc:sldMk cId="3734535861" sldId="3725"/>
            <ac:spMk id="3" creationId="{F8E01EFA-4F10-F218-ADEC-39A267C5FD8F}"/>
          </ac:spMkLst>
        </pc:spChg>
        <pc:spChg chg="mod">
          <ac:chgData name="Siva Kumar Kota" userId="8cadb4c2-62b7-4d45-8089-660ce4513362" providerId="ADAL" clId="{33D347DA-9468-406B-8418-3B649FF73DBD}" dt="2023-04-25T04:35:55.476" v="904" actId="1076"/>
          <ac:spMkLst>
            <pc:docMk/>
            <pc:sldMk cId="3734535861" sldId="3725"/>
            <ac:spMk id="5" creationId="{A9FBE5EF-91CE-ABCB-8E66-B208C38786EA}"/>
          </ac:spMkLst>
        </pc:spChg>
        <pc:graphicFrameChg chg="mod modGraphic">
          <ac:chgData name="Siva Kumar Kota" userId="8cadb4c2-62b7-4d45-8089-660ce4513362" providerId="ADAL" clId="{33D347DA-9468-406B-8418-3B649FF73DBD}" dt="2023-04-25T05:34:41.496" v="1278" actId="2165"/>
          <ac:graphicFrameMkLst>
            <pc:docMk/>
            <pc:sldMk cId="3734535861" sldId="3725"/>
            <ac:graphicFrameMk id="14" creationId="{0AE77D32-B0F0-B9EB-31C9-D94B0FCD5DFE}"/>
          </ac:graphicFrameMkLst>
        </pc:graphicFrameChg>
      </pc:sldChg>
      <pc:sldChg chg="addSp delSp modSp add mod">
        <pc:chgData name="Siva Kumar Kota" userId="8cadb4c2-62b7-4d45-8089-660ce4513362" providerId="ADAL" clId="{33D347DA-9468-406B-8418-3B649FF73DBD}" dt="2023-04-25T05:35:26.348" v="1283" actId="20577"/>
        <pc:sldMkLst>
          <pc:docMk/>
          <pc:sldMk cId="3681804584" sldId="3726"/>
        </pc:sldMkLst>
        <pc:spChg chg="mod">
          <ac:chgData name="Siva Kumar Kota" userId="8cadb4c2-62b7-4d45-8089-660ce4513362" providerId="ADAL" clId="{33D347DA-9468-406B-8418-3B649FF73DBD}" dt="2023-04-25T04:30:19.854" v="811" actId="20577"/>
          <ac:spMkLst>
            <pc:docMk/>
            <pc:sldMk cId="3681804584" sldId="3726"/>
            <ac:spMk id="3" creationId="{F8E01EFA-4F10-F218-ADEC-39A267C5FD8F}"/>
          </ac:spMkLst>
        </pc:spChg>
        <pc:spChg chg="del mod">
          <ac:chgData name="Siva Kumar Kota" userId="8cadb4c2-62b7-4d45-8089-660ce4513362" providerId="ADAL" clId="{33D347DA-9468-406B-8418-3B649FF73DBD}" dt="2023-04-25T04:30:47.574" v="817" actId="478"/>
          <ac:spMkLst>
            <pc:docMk/>
            <pc:sldMk cId="3681804584" sldId="3726"/>
            <ac:spMk id="5" creationId="{A9FBE5EF-91CE-ABCB-8E66-B208C38786EA}"/>
          </ac:spMkLst>
        </pc:spChg>
        <pc:spChg chg="add del mod">
          <ac:chgData name="Siva Kumar Kota" userId="8cadb4c2-62b7-4d45-8089-660ce4513362" providerId="ADAL" clId="{33D347DA-9468-406B-8418-3B649FF73DBD}" dt="2023-04-25T04:31:20.763" v="858" actId="478"/>
          <ac:spMkLst>
            <pc:docMk/>
            <pc:sldMk cId="3681804584" sldId="3726"/>
            <ac:spMk id="6" creationId="{153950E8-0AE7-7ABA-244E-072A5CC5DA97}"/>
          </ac:spMkLst>
        </pc:spChg>
        <pc:spChg chg="add mod">
          <ac:chgData name="Siva Kumar Kota" userId="8cadb4c2-62b7-4d45-8089-660ce4513362" providerId="ADAL" clId="{33D347DA-9468-406B-8418-3B649FF73DBD}" dt="2023-04-25T04:31:14.693" v="857" actId="20577"/>
          <ac:spMkLst>
            <pc:docMk/>
            <pc:sldMk cId="3681804584" sldId="3726"/>
            <ac:spMk id="8" creationId="{10908D8B-74AA-3804-AB1C-FC3F2BB5A4B2}"/>
          </ac:spMkLst>
        </pc:spChg>
        <pc:spChg chg="add del mod">
          <ac:chgData name="Siva Kumar Kota" userId="8cadb4c2-62b7-4d45-8089-660ce4513362" providerId="ADAL" clId="{33D347DA-9468-406B-8418-3B649FF73DBD}" dt="2023-04-25T04:31:35.122" v="861" actId="478"/>
          <ac:spMkLst>
            <pc:docMk/>
            <pc:sldMk cId="3681804584" sldId="3726"/>
            <ac:spMk id="11" creationId="{02CEE275-30E8-D5FD-7867-59E17B2A89E3}"/>
          </ac:spMkLst>
        </pc:spChg>
        <pc:spChg chg="add del mod">
          <ac:chgData name="Siva Kumar Kota" userId="8cadb4c2-62b7-4d45-8089-660ce4513362" providerId="ADAL" clId="{33D347DA-9468-406B-8418-3B649FF73DBD}" dt="2023-04-25T04:31:47.111" v="864" actId="478"/>
          <ac:spMkLst>
            <pc:docMk/>
            <pc:sldMk cId="3681804584" sldId="3726"/>
            <ac:spMk id="13" creationId="{2B963CAB-EDCE-DB9A-EA01-0391AC9BAC86}"/>
          </ac:spMkLst>
        </pc:spChg>
        <pc:graphicFrameChg chg="del">
          <ac:chgData name="Siva Kumar Kota" userId="8cadb4c2-62b7-4d45-8089-660ce4513362" providerId="ADAL" clId="{33D347DA-9468-406B-8418-3B649FF73DBD}" dt="2023-04-25T04:31:24.989" v="859" actId="478"/>
          <ac:graphicFrameMkLst>
            <pc:docMk/>
            <pc:sldMk cId="3681804584" sldId="3726"/>
            <ac:graphicFrameMk id="14" creationId="{0AE77D32-B0F0-B9EB-31C9-D94B0FCD5DFE}"/>
          </ac:graphicFrameMkLst>
        </pc:graphicFrameChg>
        <pc:graphicFrameChg chg="add mod modGraphic">
          <ac:chgData name="Siva Kumar Kota" userId="8cadb4c2-62b7-4d45-8089-660ce4513362" providerId="ADAL" clId="{33D347DA-9468-406B-8418-3B649FF73DBD}" dt="2023-04-25T05:35:26.348" v="1283" actId="20577"/>
          <ac:graphicFrameMkLst>
            <pc:docMk/>
            <pc:sldMk cId="3681804584" sldId="3726"/>
            <ac:graphicFrameMk id="15" creationId="{2E01B361-F236-A27B-F36D-7D1F0ACD56F6}"/>
          </ac:graphicFrameMkLst>
        </pc:graphicFrameChg>
        <pc:picChg chg="del">
          <ac:chgData name="Siva Kumar Kota" userId="8cadb4c2-62b7-4d45-8089-660ce4513362" providerId="ADAL" clId="{33D347DA-9468-406B-8418-3B649FF73DBD}" dt="2023-04-25T04:30:32.457" v="812" actId="478"/>
          <ac:picMkLst>
            <pc:docMk/>
            <pc:sldMk cId="3681804584" sldId="3726"/>
            <ac:picMk id="4" creationId="{41070EF5-59F5-47BF-C4ED-D466C4B18CAA}"/>
          </ac:picMkLst>
        </pc:picChg>
        <pc:picChg chg="add mod">
          <ac:chgData name="Siva Kumar Kota" userId="8cadb4c2-62b7-4d45-8089-660ce4513362" providerId="ADAL" clId="{33D347DA-9468-406B-8418-3B649FF73DBD}" dt="2023-04-25T04:30:55.131" v="820" actId="1076"/>
          <ac:picMkLst>
            <pc:docMk/>
            <pc:sldMk cId="3681804584" sldId="3726"/>
            <ac:picMk id="7" creationId="{97D28D30-1E51-63E7-6BE2-FDC8D5833ECF}"/>
          </ac:picMkLst>
        </pc:picChg>
        <pc:picChg chg="add del mod">
          <ac:chgData name="Siva Kumar Kota" userId="8cadb4c2-62b7-4d45-8089-660ce4513362" providerId="ADAL" clId="{33D347DA-9468-406B-8418-3B649FF73DBD}" dt="2023-04-25T04:31:35.122" v="861" actId="478"/>
          <ac:picMkLst>
            <pc:docMk/>
            <pc:sldMk cId="3681804584" sldId="3726"/>
            <ac:picMk id="9" creationId="{3C4634FD-FE1F-224D-9C77-131B32EE9AF1}"/>
          </ac:picMkLst>
        </pc:picChg>
      </pc:sldChg>
      <pc:sldMasterChg chg="delSldLayout">
        <pc:chgData name="Siva Kumar Kota" userId="8cadb4c2-62b7-4d45-8089-660ce4513362" providerId="ADAL" clId="{33D347DA-9468-406B-8418-3B649FF73DBD}" dt="2023-04-25T04:38:02.026" v="925" actId="47"/>
        <pc:sldMasterMkLst>
          <pc:docMk/>
          <pc:sldMasterMk cId="3794490025" sldId="2147483673"/>
        </pc:sldMasterMkLst>
        <pc:sldLayoutChg chg="del">
          <pc:chgData name="Siva Kumar Kota" userId="8cadb4c2-62b7-4d45-8089-660ce4513362" providerId="ADAL" clId="{33D347DA-9468-406B-8418-3B649FF73DBD}" dt="2023-04-25T04:38:02.026" v="925" actId="47"/>
          <pc:sldLayoutMkLst>
            <pc:docMk/>
            <pc:sldMasterMk cId="3794490025" sldId="2147483673"/>
            <pc:sldLayoutMk cId="387646956" sldId="2147483716"/>
          </pc:sldLayoutMkLst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wrkeng\OneDrive%20-%20Gradiant%20Corporation\Desktop\Application%20study%20-%20Micron%20Boise.xlsx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https://7818195034-my.sharepoint.com/personal/sygoh_gradiant_com/Documents/Documents/CFRO1%20exp%2014042023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https://7818195034-my.sharepoint.com/personal/sygoh_gradiant_com/Documents/Documents/CFRO1%20exp%2014042023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 dirty="0"/>
              <a:t>Gravimetric TDS vs Refractive Index</a:t>
            </a:r>
          </a:p>
        </c:rich>
      </c:tx>
      <c:overlay val="0"/>
      <c:spPr>
        <a:noFill/>
        <a:ln>
          <a:noFill/>
        </a:ln>
        <a:effectLst/>
      </c:spPr>
    </c:title>
    <c:autoTitleDeleted val="0"/>
    <c:plotArea>
      <c:layout/>
      <c:scatterChart>
        <c:scatterStyle val="lineMarker"/>
        <c:varyColors val="0"/>
        <c:ser>
          <c:idx val="1"/>
          <c:order val="0"/>
          <c:tx>
            <c:strRef>
              <c:f>Sheet4!$G$1</c:f>
              <c:strCache>
                <c:ptCount val="1"/>
                <c:pt idx="0">
                  <c:v>RI</c:v>
                </c:pt>
              </c:strCache>
            </c:strRef>
          </c:tx>
          <c:spPr>
            <a:ln w="25400">
              <a:noFill/>
            </a:ln>
          </c:spPr>
          <c:marker>
            <c:symbol val="circle"/>
            <c:size val="5"/>
            <c:spPr>
              <a:solidFill>
                <a:schemeClr val="accent5">
                  <a:lumMod val="60000"/>
                  <a:lumOff val="40000"/>
                </a:schemeClr>
              </a:solidFill>
              <a:ln>
                <a:solidFill>
                  <a:srgbClr val="7030A0"/>
                </a:solidFill>
              </a:ln>
            </c:spPr>
          </c:marker>
          <c:trendline>
            <c:trendlineType val="linear"/>
            <c:dispRSqr val="1"/>
            <c:dispEq val="1"/>
            <c:trendlineLbl>
              <c:layout>
                <c:manualLayout>
                  <c:x val="9.3814275568072494E-2"/>
                  <c:y val="0.19020720144640338"/>
                </c:manualLayout>
              </c:layout>
              <c:numFmt formatCode="General" sourceLinked="0"/>
              <c:spPr>
                <a:solidFill>
                  <a:schemeClr val="bg1"/>
                </a:solidFill>
              </c:spPr>
            </c:trendlineLbl>
          </c:trendline>
          <c:xVal>
            <c:numRef>
              <c:f>Sheet4!$G$12:$G$16</c:f>
              <c:numCache>
                <c:formatCode>General</c:formatCode>
                <c:ptCount val="5"/>
                <c:pt idx="0">
                  <c:v>1.3339000000000001</c:v>
                </c:pt>
                <c:pt idx="1">
                  <c:v>1.3349</c:v>
                </c:pt>
                <c:pt idx="2">
                  <c:v>1.3371</c:v>
                </c:pt>
                <c:pt idx="3">
                  <c:v>1.3381000000000001</c:v>
                </c:pt>
                <c:pt idx="4">
                  <c:v>1.3327</c:v>
                </c:pt>
              </c:numCache>
            </c:numRef>
          </c:xVal>
          <c:yVal>
            <c:numRef>
              <c:f>Sheet4!$H$12:$H$16</c:f>
              <c:numCache>
                <c:formatCode>#,##0</c:formatCode>
                <c:ptCount val="5"/>
                <c:pt idx="0">
                  <c:v>8000</c:v>
                </c:pt>
                <c:pt idx="1">
                  <c:v>14699.99999999709</c:v>
                </c:pt>
                <c:pt idx="2">
                  <c:v>27200.000000004366</c:v>
                </c:pt>
                <c:pt idx="3">
                  <c:v>35890.000000000146</c:v>
                </c:pt>
                <c:pt idx="4">
                  <c:v>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9748-4499-9C8A-18FFB1BC6B6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203220816"/>
        <c:axId val="1203221232"/>
      </c:scatterChart>
      <c:valAx>
        <c:axId val="1203220816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/>
              <a:lstStyle/>
              <a:p>
                <a:pPr>
                  <a:defRPr/>
                </a:pPr>
                <a:r>
                  <a:rPr lang="en-SG"/>
                  <a:t>Refractive Index</a:t>
                </a:r>
              </a:p>
            </c:rich>
          </c:tx>
          <c:overlay val="0"/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03221232"/>
        <c:crosses val="autoZero"/>
        <c:crossBetween val="midCat"/>
      </c:valAx>
      <c:valAx>
        <c:axId val="12032212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/>
              <a:lstStyle/>
              <a:p>
                <a:pPr>
                  <a:defRPr/>
                </a:pPr>
                <a:r>
                  <a:rPr lang="en-SG"/>
                  <a:t>TDS (Gravimetric)</a:t>
                </a:r>
              </a:p>
            </c:rich>
          </c:tx>
          <c:overlay val="0"/>
        </c:title>
        <c:numFmt formatCode="#,##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03220816"/>
        <c:crosses val="autoZero"/>
        <c:crossBetween val="midCat"/>
      </c:valAx>
    </c:plotArea>
    <c:plotVisOnly val="1"/>
    <c:dispBlanksAs val="gap"/>
    <c:showDLblsOverMax val="0"/>
    <c:extLst/>
  </c:chart>
  <c:spPr>
    <a:solidFill>
      <a:schemeClr val="bg1"/>
    </a:solidFill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SG"/>
              <a:t>Equivalant Feed TDS (mg/l) based on RI vs Time duration (min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scatterChart>
        <c:scatterStyle val="lineMarker"/>
        <c:varyColors val="0"/>
        <c:ser>
          <c:idx val="0"/>
          <c:order val="0"/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xVal>
            <c:numRef>
              <c:f>Sheet1!$B$4:$B$18</c:f>
              <c:numCache>
                <c:formatCode>General</c:formatCode>
                <c:ptCount val="15"/>
                <c:pt idx="0">
                  <c:v>0</c:v>
                </c:pt>
                <c:pt idx="1">
                  <c:v>7</c:v>
                </c:pt>
                <c:pt idx="2">
                  <c:v>24</c:v>
                </c:pt>
                <c:pt idx="3">
                  <c:v>34</c:v>
                </c:pt>
                <c:pt idx="4">
                  <c:v>50</c:v>
                </c:pt>
                <c:pt idx="5">
                  <c:v>62</c:v>
                </c:pt>
                <c:pt idx="6">
                  <c:v>74</c:v>
                </c:pt>
                <c:pt idx="7">
                  <c:v>85</c:v>
                </c:pt>
                <c:pt idx="8">
                  <c:v>95</c:v>
                </c:pt>
                <c:pt idx="9">
                  <c:v>105</c:v>
                </c:pt>
                <c:pt idx="10">
                  <c:v>115</c:v>
                </c:pt>
                <c:pt idx="11">
                  <c:v>130</c:v>
                </c:pt>
                <c:pt idx="12">
                  <c:v>140</c:v>
                </c:pt>
                <c:pt idx="13">
                  <c:v>152</c:v>
                </c:pt>
                <c:pt idx="14">
                  <c:v>160</c:v>
                </c:pt>
              </c:numCache>
            </c:numRef>
          </c:xVal>
          <c:yVal>
            <c:numRef>
              <c:f>Sheet1!$H$4:$H$18</c:f>
              <c:numCache>
                <c:formatCode>#,##0</c:formatCode>
                <c:ptCount val="15"/>
                <c:pt idx="0">
                  <c:v>30756</c:v>
                </c:pt>
                <c:pt idx="1">
                  <c:v>36064</c:v>
                </c:pt>
                <c:pt idx="2">
                  <c:v>41372</c:v>
                </c:pt>
                <c:pt idx="3">
                  <c:v>46776</c:v>
                </c:pt>
                <c:pt idx="4">
                  <c:v>52180</c:v>
                </c:pt>
                <c:pt idx="5">
                  <c:v>63156</c:v>
                </c:pt>
                <c:pt idx="6">
                  <c:v>74333</c:v>
                </c:pt>
                <c:pt idx="7">
                  <c:v>85704</c:v>
                </c:pt>
                <c:pt idx="8">
                  <c:v>109050</c:v>
                </c:pt>
                <c:pt idx="9">
                  <c:v>121022</c:v>
                </c:pt>
                <c:pt idx="10">
                  <c:v>133212</c:v>
                </c:pt>
                <c:pt idx="11">
                  <c:v>171030</c:v>
                </c:pt>
                <c:pt idx="12">
                  <c:v>184048</c:v>
                </c:pt>
                <c:pt idx="13">
                  <c:v>252236</c:v>
                </c:pt>
                <c:pt idx="14">
                  <c:v>26633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A4ED-4588-A251-93BEA1C717D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91938320"/>
        <c:axId val="591943312"/>
      </c:scatterChart>
      <c:valAx>
        <c:axId val="591938320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91943312"/>
        <c:crosses val="autoZero"/>
        <c:crossBetween val="midCat"/>
      </c:valAx>
      <c:valAx>
        <c:axId val="5919433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91938320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SG"/>
              <a:t>Feed RI vs Time duration (min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8.5423584322069104E-2"/>
          <c:y val="0.11703260493188222"/>
          <c:w val="0.86377162199981772"/>
          <c:h val="0.80461375291015735"/>
        </c:manualLayout>
      </c:layout>
      <c:scatterChart>
        <c:scatterStyle val="lineMarker"/>
        <c:varyColors val="0"/>
        <c:ser>
          <c:idx val="0"/>
          <c:order val="0"/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xVal>
            <c:numRef>
              <c:f>Sheet1!$B$4:$B$18</c:f>
              <c:numCache>
                <c:formatCode>General</c:formatCode>
                <c:ptCount val="15"/>
                <c:pt idx="0">
                  <c:v>0</c:v>
                </c:pt>
                <c:pt idx="1">
                  <c:v>7</c:v>
                </c:pt>
                <c:pt idx="2">
                  <c:v>24</c:v>
                </c:pt>
                <c:pt idx="3">
                  <c:v>34</c:v>
                </c:pt>
                <c:pt idx="4">
                  <c:v>50</c:v>
                </c:pt>
                <c:pt idx="5">
                  <c:v>62</c:v>
                </c:pt>
                <c:pt idx="6">
                  <c:v>74</c:v>
                </c:pt>
                <c:pt idx="7">
                  <c:v>85</c:v>
                </c:pt>
                <c:pt idx="8">
                  <c:v>95</c:v>
                </c:pt>
                <c:pt idx="9">
                  <c:v>105</c:v>
                </c:pt>
                <c:pt idx="10">
                  <c:v>115</c:v>
                </c:pt>
                <c:pt idx="11">
                  <c:v>130</c:v>
                </c:pt>
                <c:pt idx="12">
                  <c:v>140</c:v>
                </c:pt>
                <c:pt idx="13">
                  <c:v>152</c:v>
                </c:pt>
                <c:pt idx="14">
                  <c:v>160</c:v>
                </c:pt>
              </c:numCache>
            </c:numRef>
          </c:xVal>
          <c:yVal>
            <c:numRef>
              <c:f>Sheet1!$F$4:$F$18</c:f>
              <c:numCache>
                <c:formatCode>General</c:formatCode>
                <c:ptCount val="15"/>
                <c:pt idx="0">
                  <c:v>1.3381000000000001</c:v>
                </c:pt>
                <c:pt idx="1">
                  <c:v>1.3385</c:v>
                </c:pt>
                <c:pt idx="2">
                  <c:v>1.3392999999999999</c:v>
                </c:pt>
                <c:pt idx="3">
                  <c:v>1.3398000000000001</c:v>
                </c:pt>
                <c:pt idx="4" formatCode="0.0000">
                  <c:v>1.341</c:v>
                </c:pt>
                <c:pt idx="5">
                  <c:v>1.3421000000000001</c:v>
                </c:pt>
                <c:pt idx="6">
                  <c:v>1.3433999999999999</c:v>
                </c:pt>
                <c:pt idx="7">
                  <c:v>1.3449</c:v>
                </c:pt>
                <c:pt idx="8" formatCode="0.0000">
                  <c:v>1.347</c:v>
                </c:pt>
                <c:pt idx="9">
                  <c:v>1.3486</c:v>
                </c:pt>
                <c:pt idx="10">
                  <c:v>1.3512999999999999</c:v>
                </c:pt>
                <c:pt idx="11">
                  <c:v>1.3551</c:v>
                </c:pt>
                <c:pt idx="12">
                  <c:v>1.3589</c:v>
                </c:pt>
                <c:pt idx="13">
                  <c:v>1.3647</c:v>
                </c:pt>
                <c:pt idx="14">
                  <c:v>1.36549999999999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BBAA-4CA0-AA8F-38FAC6C06DA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91938320"/>
        <c:axId val="591943312"/>
      </c:scatterChart>
      <c:valAx>
        <c:axId val="591938320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91943312"/>
        <c:crosses val="autoZero"/>
        <c:crossBetween val="midCat"/>
      </c:valAx>
      <c:valAx>
        <c:axId val="5919433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91938320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06C5D7B-7F18-460F-BC6B-FB80EF6EE9DB}" type="doc">
      <dgm:prSet loTypeId="urn:microsoft.com/office/officeart/2009/layout/CircleArrowProcess" loCatId="process" qsTypeId="urn:microsoft.com/office/officeart/2005/8/quickstyle/3d7" qsCatId="3D" csTypeId="urn:microsoft.com/office/officeart/2005/8/colors/colorful2" csCatId="colorful" phldr="1"/>
      <dgm:spPr/>
      <dgm:t>
        <a:bodyPr/>
        <a:lstStyle/>
        <a:p>
          <a:endParaRPr lang="en-SG"/>
        </a:p>
      </dgm:t>
    </dgm:pt>
    <dgm:pt modelId="{B23A4F7B-FA30-4B7E-937F-BD6A814EC243}">
      <dgm:prSet phldrT="[Text]"/>
      <dgm:spPr/>
      <dgm:t>
        <a:bodyPr/>
        <a:lstStyle/>
        <a:p>
          <a:r>
            <a:rPr lang="en-SG" dirty="0"/>
            <a:t>Separation </a:t>
          </a:r>
        </a:p>
      </dgm:t>
    </dgm:pt>
    <dgm:pt modelId="{8E3FCFED-E57D-462C-A736-B15311205DE2}" type="parTrans" cxnId="{879ED480-4347-48E2-9E1B-B57CD692E80D}">
      <dgm:prSet/>
      <dgm:spPr/>
      <dgm:t>
        <a:bodyPr/>
        <a:lstStyle/>
        <a:p>
          <a:endParaRPr lang="en-SG"/>
        </a:p>
      </dgm:t>
    </dgm:pt>
    <dgm:pt modelId="{9FAE436F-AFE5-4884-9F29-EACD4BFC73CA}" type="sibTrans" cxnId="{879ED480-4347-48E2-9E1B-B57CD692E80D}">
      <dgm:prSet/>
      <dgm:spPr/>
      <dgm:t>
        <a:bodyPr/>
        <a:lstStyle/>
        <a:p>
          <a:endParaRPr lang="en-SG"/>
        </a:p>
      </dgm:t>
    </dgm:pt>
    <dgm:pt modelId="{3B0C07CE-93DB-4007-9A34-9098ADFB74E8}">
      <dgm:prSet phldrT="[Text]"/>
      <dgm:spPr/>
      <dgm:t>
        <a:bodyPr/>
        <a:lstStyle/>
        <a:p>
          <a:r>
            <a:rPr lang="en-SG" dirty="0"/>
            <a:t>Concentration</a:t>
          </a:r>
        </a:p>
      </dgm:t>
    </dgm:pt>
    <dgm:pt modelId="{84705D8E-B4ED-4C67-851A-E17DEC36E3F6}" type="parTrans" cxnId="{EA74F46E-FF58-4BDA-A1AC-44ECE3109F53}">
      <dgm:prSet/>
      <dgm:spPr/>
      <dgm:t>
        <a:bodyPr/>
        <a:lstStyle/>
        <a:p>
          <a:endParaRPr lang="en-SG"/>
        </a:p>
      </dgm:t>
    </dgm:pt>
    <dgm:pt modelId="{E500B6D9-038B-4B64-BD5F-A3B5EEB99EEB}" type="sibTrans" cxnId="{EA74F46E-FF58-4BDA-A1AC-44ECE3109F53}">
      <dgm:prSet/>
      <dgm:spPr/>
      <dgm:t>
        <a:bodyPr/>
        <a:lstStyle/>
        <a:p>
          <a:endParaRPr lang="en-SG"/>
        </a:p>
      </dgm:t>
    </dgm:pt>
    <dgm:pt modelId="{7AD4CC51-94A1-47A1-8FCF-FED4F68D4F73}">
      <dgm:prSet phldrT="[Text]"/>
      <dgm:spPr/>
      <dgm:t>
        <a:bodyPr/>
        <a:lstStyle/>
        <a:p>
          <a:r>
            <a:rPr lang="en-SG" dirty="0"/>
            <a:t>Destruction</a:t>
          </a:r>
        </a:p>
      </dgm:t>
    </dgm:pt>
    <dgm:pt modelId="{3D69F827-BD22-4E2B-A306-F73201AE9DA1}" type="parTrans" cxnId="{1CCD5648-58F0-40FF-B23B-47C67E6B1536}">
      <dgm:prSet/>
      <dgm:spPr/>
      <dgm:t>
        <a:bodyPr/>
        <a:lstStyle/>
        <a:p>
          <a:endParaRPr lang="en-SG"/>
        </a:p>
      </dgm:t>
    </dgm:pt>
    <dgm:pt modelId="{27CAC4A4-EBB4-4E2C-B78A-7B23FD1E602E}" type="sibTrans" cxnId="{1CCD5648-58F0-40FF-B23B-47C67E6B1536}">
      <dgm:prSet/>
      <dgm:spPr/>
      <dgm:t>
        <a:bodyPr/>
        <a:lstStyle/>
        <a:p>
          <a:endParaRPr lang="en-SG"/>
        </a:p>
      </dgm:t>
    </dgm:pt>
    <dgm:pt modelId="{71623319-9EC3-444C-B262-24BB958897CF}" type="pres">
      <dgm:prSet presAssocID="{A06C5D7B-7F18-460F-BC6B-FB80EF6EE9DB}" presName="Name0" presStyleCnt="0">
        <dgm:presLayoutVars>
          <dgm:chMax val="7"/>
          <dgm:chPref val="7"/>
          <dgm:dir/>
          <dgm:animLvl val="lvl"/>
        </dgm:presLayoutVars>
      </dgm:prSet>
      <dgm:spPr/>
    </dgm:pt>
    <dgm:pt modelId="{DE5083C2-8B87-4728-B75D-1ADED157C7E8}" type="pres">
      <dgm:prSet presAssocID="{B23A4F7B-FA30-4B7E-937F-BD6A814EC243}" presName="Accent1" presStyleCnt="0"/>
      <dgm:spPr/>
    </dgm:pt>
    <dgm:pt modelId="{D9981832-167B-43E2-AEB3-F36A60E0103E}" type="pres">
      <dgm:prSet presAssocID="{B23A4F7B-FA30-4B7E-937F-BD6A814EC243}" presName="Accent" presStyleLbl="node1" presStyleIdx="0" presStyleCnt="3"/>
      <dgm:spPr/>
    </dgm:pt>
    <dgm:pt modelId="{2E22B976-75F1-4E86-AA49-55F695AD96FB}" type="pres">
      <dgm:prSet presAssocID="{B23A4F7B-FA30-4B7E-937F-BD6A814EC243}" presName="Parent1" presStyleLbl="revTx" presStyleIdx="0" presStyleCnt="3">
        <dgm:presLayoutVars>
          <dgm:chMax val="1"/>
          <dgm:chPref val="1"/>
          <dgm:bulletEnabled val="1"/>
        </dgm:presLayoutVars>
      </dgm:prSet>
      <dgm:spPr/>
    </dgm:pt>
    <dgm:pt modelId="{09E0A3A1-2982-4F78-B192-B7363B39E557}" type="pres">
      <dgm:prSet presAssocID="{3B0C07CE-93DB-4007-9A34-9098ADFB74E8}" presName="Accent2" presStyleCnt="0"/>
      <dgm:spPr/>
    </dgm:pt>
    <dgm:pt modelId="{798C5D02-AFE9-4387-8A13-40F95A4F749F}" type="pres">
      <dgm:prSet presAssocID="{3B0C07CE-93DB-4007-9A34-9098ADFB74E8}" presName="Accent" presStyleLbl="node1" presStyleIdx="1" presStyleCnt="3"/>
      <dgm:spPr/>
    </dgm:pt>
    <dgm:pt modelId="{50C853FB-D07D-406A-9BF9-799E0153F489}" type="pres">
      <dgm:prSet presAssocID="{3B0C07CE-93DB-4007-9A34-9098ADFB74E8}" presName="Parent2" presStyleLbl="revTx" presStyleIdx="1" presStyleCnt="3">
        <dgm:presLayoutVars>
          <dgm:chMax val="1"/>
          <dgm:chPref val="1"/>
          <dgm:bulletEnabled val="1"/>
        </dgm:presLayoutVars>
      </dgm:prSet>
      <dgm:spPr/>
    </dgm:pt>
    <dgm:pt modelId="{6EC6336E-1E64-4BE0-9F49-D159168073E4}" type="pres">
      <dgm:prSet presAssocID="{7AD4CC51-94A1-47A1-8FCF-FED4F68D4F73}" presName="Accent3" presStyleCnt="0"/>
      <dgm:spPr/>
    </dgm:pt>
    <dgm:pt modelId="{7497C8E7-3641-433B-BEE9-671D8CDAC274}" type="pres">
      <dgm:prSet presAssocID="{7AD4CC51-94A1-47A1-8FCF-FED4F68D4F73}" presName="Accent" presStyleLbl="node1" presStyleIdx="2" presStyleCnt="3"/>
      <dgm:spPr/>
    </dgm:pt>
    <dgm:pt modelId="{EF8BCFD1-2563-44BB-B938-BC03CD4EAFCC}" type="pres">
      <dgm:prSet presAssocID="{7AD4CC51-94A1-47A1-8FCF-FED4F68D4F73}" presName="Parent3" presStyleLbl="revTx" presStyleIdx="2" presStyleCnt="3">
        <dgm:presLayoutVars>
          <dgm:chMax val="1"/>
          <dgm:chPref val="1"/>
          <dgm:bulletEnabled val="1"/>
        </dgm:presLayoutVars>
      </dgm:prSet>
      <dgm:spPr/>
    </dgm:pt>
  </dgm:ptLst>
  <dgm:cxnLst>
    <dgm:cxn modelId="{93C7C328-B1E7-427E-BABE-7FF08D908509}" type="presOf" srcId="{3B0C07CE-93DB-4007-9A34-9098ADFB74E8}" destId="{50C853FB-D07D-406A-9BF9-799E0153F489}" srcOrd="0" destOrd="0" presId="urn:microsoft.com/office/officeart/2009/layout/CircleArrowProcess"/>
    <dgm:cxn modelId="{1CCD5648-58F0-40FF-B23B-47C67E6B1536}" srcId="{A06C5D7B-7F18-460F-BC6B-FB80EF6EE9DB}" destId="{7AD4CC51-94A1-47A1-8FCF-FED4F68D4F73}" srcOrd="2" destOrd="0" parTransId="{3D69F827-BD22-4E2B-A306-F73201AE9DA1}" sibTransId="{27CAC4A4-EBB4-4E2C-B78A-7B23FD1E602E}"/>
    <dgm:cxn modelId="{EA74F46E-FF58-4BDA-A1AC-44ECE3109F53}" srcId="{A06C5D7B-7F18-460F-BC6B-FB80EF6EE9DB}" destId="{3B0C07CE-93DB-4007-9A34-9098ADFB74E8}" srcOrd="1" destOrd="0" parTransId="{84705D8E-B4ED-4C67-851A-E17DEC36E3F6}" sibTransId="{E500B6D9-038B-4B64-BD5F-A3B5EEB99EEB}"/>
    <dgm:cxn modelId="{6BC37A76-ADAA-42F1-81DF-DEF653EBE242}" type="presOf" srcId="{A06C5D7B-7F18-460F-BC6B-FB80EF6EE9DB}" destId="{71623319-9EC3-444C-B262-24BB958897CF}" srcOrd="0" destOrd="0" presId="urn:microsoft.com/office/officeart/2009/layout/CircleArrowProcess"/>
    <dgm:cxn modelId="{B0623259-DD03-43AF-9F64-6AA38FAFE0B3}" type="presOf" srcId="{B23A4F7B-FA30-4B7E-937F-BD6A814EC243}" destId="{2E22B976-75F1-4E86-AA49-55F695AD96FB}" srcOrd="0" destOrd="0" presId="urn:microsoft.com/office/officeart/2009/layout/CircleArrowProcess"/>
    <dgm:cxn modelId="{879ED480-4347-48E2-9E1B-B57CD692E80D}" srcId="{A06C5D7B-7F18-460F-BC6B-FB80EF6EE9DB}" destId="{B23A4F7B-FA30-4B7E-937F-BD6A814EC243}" srcOrd="0" destOrd="0" parTransId="{8E3FCFED-E57D-462C-A736-B15311205DE2}" sibTransId="{9FAE436F-AFE5-4884-9F29-EACD4BFC73CA}"/>
    <dgm:cxn modelId="{FAB0BDA8-7301-4F2C-B8AB-91B3165F55D1}" type="presOf" srcId="{7AD4CC51-94A1-47A1-8FCF-FED4F68D4F73}" destId="{EF8BCFD1-2563-44BB-B938-BC03CD4EAFCC}" srcOrd="0" destOrd="0" presId="urn:microsoft.com/office/officeart/2009/layout/CircleArrowProcess"/>
    <dgm:cxn modelId="{39C7494E-969D-4F71-8BD2-10CDBD47C48B}" type="presParOf" srcId="{71623319-9EC3-444C-B262-24BB958897CF}" destId="{DE5083C2-8B87-4728-B75D-1ADED157C7E8}" srcOrd="0" destOrd="0" presId="urn:microsoft.com/office/officeart/2009/layout/CircleArrowProcess"/>
    <dgm:cxn modelId="{9E2AD113-9C16-49DF-BAA7-D19E4E420452}" type="presParOf" srcId="{DE5083C2-8B87-4728-B75D-1ADED157C7E8}" destId="{D9981832-167B-43E2-AEB3-F36A60E0103E}" srcOrd="0" destOrd="0" presId="urn:microsoft.com/office/officeart/2009/layout/CircleArrowProcess"/>
    <dgm:cxn modelId="{3E5C7EA0-0D9B-43A8-9313-765B646C1200}" type="presParOf" srcId="{71623319-9EC3-444C-B262-24BB958897CF}" destId="{2E22B976-75F1-4E86-AA49-55F695AD96FB}" srcOrd="1" destOrd="0" presId="urn:microsoft.com/office/officeart/2009/layout/CircleArrowProcess"/>
    <dgm:cxn modelId="{E1EBB9AF-1214-47DF-95D6-94A2667600F6}" type="presParOf" srcId="{71623319-9EC3-444C-B262-24BB958897CF}" destId="{09E0A3A1-2982-4F78-B192-B7363B39E557}" srcOrd="2" destOrd="0" presId="urn:microsoft.com/office/officeart/2009/layout/CircleArrowProcess"/>
    <dgm:cxn modelId="{2C8F205E-CE73-4A1E-B249-221394BE62A0}" type="presParOf" srcId="{09E0A3A1-2982-4F78-B192-B7363B39E557}" destId="{798C5D02-AFE9-4387-8A13-40F95A4F749F}" srcOrd="0" destOrd="0" presId="urn:microsoft.com/office/officeart/2009/layout/CircleArrowProcess"/>
    <dgm:cxn modelId="{67FCCBD3-3E7B-4799-928C-3967919FF0FC}" type="presParOf" srcId="{71623319-9EC3-444C-B262-24BB958897CF}" destId="{50C853FB-D07D-406A-9BF9-799E0153F489}" srcOrd="3" destOrd="0" presId="urn:microsoft.com/office/officeart/2009/layout/CircleArrowProcess"/>
    <dgm:cxn modelId="{D08E5DE3-53C7-421D-ADC8-29E291350C96}" type="presParOf" srcId="{71623319-9EC3-444C-B262-24BB958897CF}" destId="{6EC6336E-1E64-4BE0-9F49-D159168073E4}" srcOrd="4" destOrd="0" presId="urn:microsoft.com/office/officeart/2009/layout/CircleArrowProcess"/>
    <dgm:cxn modelId="{DEAD2360-172A-4574-B0EE-23DE5AAEA65F}" type="presParOf" srcId="{6EC6336E-1E64-4BE0-9F49-D159168073E4}" destId="{7497C8E7-3641-433B-BEE9-671D8CDAC274}" srcOrd="0" destOrd="0" presId="urn:microsoft.com/office/officeart/2009/layout/CircleArrowProcess"/>
    <dgm:cxn modelId="{B7C36D68-9290-4C31-B7D5-361FB9ADF070}" type="presParOf" srcId="{71623319-9EC3-444C-B262-24BB958897CF}" destId="{EF8BCFD1-2563-44BB-B938-BC03CD4EAFCC}" srcOrd="5" destOrd="0" presId="urn:microsoft.com/office/officeart/2009/layout/CircleArrowProcess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9981832-167B-43E2-AEB3-F36A60E0103E}">
      <dsp:nvSpPr>
        <dsp:cNvPr id="0" name=""/>
        <dsp:cNvSpPr/>
      </dsp:nvSpPr>
      <dsp:spPr>
        <a:xfrm>
          <a:off x="1276087" y="0"/>
          <a:ext cx="1732629" cy="1732893"/>
        </a:xfrm>
        <a:prstGeom prst="circularArrow">
          <a:avLst>
            <a:gd name="adj1" fmla="val 10980"/>
            <a:gd name="adj2" fmla="val 1142322"/>
            <a:gd name="adj3" fmla="val 4500000"/>
            <a:gd name="adj4" fmla="val 10800000"/>
            <a:gd name="adj5" fmla="val 125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p3d extrusionH="50600" prstMaterial="metal">
          <a:bevelT w="101600" h="80600" prst="relaxedInset"/>
          <a:bevelB w="80600" h="80600" prst="relaxedInset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2E22B976-75F1-4E86-AA49-55F695AD96FB}">
      <dsp:nvSpPr>
        <dsp:cNvPr id="0" name=""/>
        <dsp:cNvSpPr/>
      </dsp:nvSpPr>
      <dsp:spPr>
        <a:xfrm>
          <a:off x="1659055" y="625626"/>
          <a:ext cx="962788" cy="4812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SG" sz="1100" kern="1200" dirty="0"/>
            <a:t>Separation </a:t>
          </a:r>
        </a:p>
      </dsp:txBody>
      <dsp:txXfrm>
        <a:off x="1659055" y="625626"/>
        <a:ext cx="962788" cy="481279"/>
      </dsp:txXfrm>
    </dsp:sp>
    <dsp:sp modelId="{798C5D02-AFE9-4387-8A13-40F95A4F749F}">
      <dsp:nvSpPr>
        <dsp:cNvPr id="0" name=""/>
        <dsp:cNvSpPr/>
      </dsp:nvSpPr>
      <dsp:spPr>
        <a:xfrm>
          <a:off x="794855" y="995675"/>
          <a:ext cx="1732629" cy="1732893"/>
        </a:xfrm>
        <a:prstGeom prst="leftCircularArrow">
          <a:avLst>
            <a:gd name="adj1" fmla="val 10980"/>
            <a:gd name="adj2" fmla="val 1142322"/>
            <a:gd name="adj3" fmla="val 6300000"/>
            <a:gd name="adj4" fmla="val 18900000"/>
            <a:gd name="adj5" fmla="val 12500"/>
          </a:avLst>
        </a:prstGeom>
        <a:solidFill>
          <a:schemeClr val="accent2">
            <a:hueOff val="440357"/>
            <a:satOff val="-12125"/>
            <a:lumOff val="11862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p3d extrusionH="50600" prstMaterial="metal">
          <a:bevelT w="101600" h="80600" prst="relaxedInset"/>
          <a:bevelB w="80600" h="80600" prst="relaxedInset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50C853FB-D07D-406A-9BF9-799E0153F489}">
      <dsp:nvSpPr>
        <dsp:cNvPr id="0" name=""/>
        <dsp:cNvSpPr/>
      </dsp:nvSpPr>
      <dsp:spPr>
        <a:xfrm>
          <a:off x="1179775" y="1627062"/>
          <a:ext cx="962788" cy="4812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SG" sz="1100" kern="1200" dirty="0"/>
            <a:t>Concentration</a:t>
          </a:r>
        </a:p>
      </dsp:txBody>
      <dsp:txXfrm>
        <a:off x="1179775" y="1627062"/>
        <a:ext cx="962788" cy="481279"/>
      </dsp:txXfrm>
    </dsp:sp>
    <dsp:sp modelId="{7497C8E7-3641-433B-BEE9-671D8CDAC274}">
      <dsp:nvSpPr>
        <dsp:cNvPr id="0" name=""/>
        <dsp:cNvSpPr/>
      </dsp:nvSpPr>
      <dsp:spPr>
        <a:xfrm>
          <a:off x="1399404" y="2110501"/>
          <a:ext cx="1488597" cy="1489193"/>
        </a:xfrm>
        <a:prstGeom prst="blockArc">
          <a:avLst>
            <a:gd name="adj1" fmla="val 13500000"/>
            <a:gd name="adj2" fmla="val 10800000"/>
            <a:gd name="adj3" fmla="val 12740"/>
          </a:avLst>
        </a:prstGeom>
        <a:solidFill>
          <a:schemeClr val="accent2">
            <a:hueOff val="880714"/>
            <a:satOff val="-24250"/>
            <a:lumOff val="23723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p3d extrusionH="50600" prstMaterial="metal">
          <a:bevelT w="101600" h="80600" prst="relaxedInset"/>
          <a:bevelB w="80600" h="80600" prst="relaxedInset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EF8BCFD1-2563-44BB-B938-BC03CD4EAFCC}">
      <dsp:nvSpPr>
        <dsp:cNvPr id="0" name=""/>
        <dsp:cNvSpPr/>
      </dsp:nvSpPr>
      <dsp:spPr>
        <a:xfrm>
          <a:off x="1661332" y="2629937"/>
          <a:ext cx="962788" cy="4812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SG" sz="1100" kern="1200" dirty="0"/>
            <a:t>Destruction</a:t>
          </a:r>
        </a:p>
      </dsp:txBody>
      <dsp:txXfrm>
        <a:off x="1661332" y="2629937"/>
        <a:ext cx="962788" cy="48127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layout/CircleArrowProcess">
  <dgm:title val=""/>
  <dgm:desc val=""/>
  <dgm:catLst>
    <dgm:cat type="process" pri="16500"/>
    <dgm:cat type="cycle" pri="16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3" destOrd="0"/>
      </dgm:cxnLst>
      <dgm:bg/>
      <dgm:whole/>
    </dgm:dataModel>
  </dgm:clrData>
  <dgm:layoutNode name="Name0">
    <dgm:varLst>
      <dgm:chMax val="7"/>
      <dgm:chPref val="7"/>
      <dgm:dir/>
      <dgm:animLvl val="lvl"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" ptType="node" func="cnt" op="equ" val="1">
            <dgm:alg type="composite">
              <dgm:param type="ar" val="1.599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Child1" refType="w" fact="0.625"/>
              <dgm:constr type="t" for="ch" forName="Child1" refType="h" fact="0.2981"/>
              <dgm:constr type="w" for="ch" forName="Child1" refType="w" fact="0.375"/>
              <dgm:constr type="h" for="ch" forName="Child1" refType="h" fact="0.4001"/>
              <dgm:constr type="l" for="ch" forName="Accent1" refType="w" fact="0"/>
              <dgm:constr type="t" for="ch" forName="Accent1" refType="h" fact="0"/>
              <dgm:constr type="w" for="ch" forName="Accent1" refType="w" fact="0.6249"/>
              <dgm:constr type="h" for="ch" forName="Accent1" refType="h"/>
              <dgm:constr type="l" for="ch" forName="Parent1" refType="w" fact="0.138"/>
              <dgm:constr type="t" for="ch" forName="Parent1" refType="h" fact="0.362"/>
              <dgm:constr type="w" for="ch" forName="Parent1" refType="w" fact="0.3487"/>
              <dgm:constr type="h" for="ch" forName="Parent1" refType="h" fact="0.2789"/>
            </dgm:constrLst>
          </dgm:if>
          <dgm:if name="Name5" axis="ch" ptType="node" func="cnt" op="equ" val="2">
            <dgm:alg type="composite">
              <dgm:param type="ar" val="1.2026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Accent1" refType="w" fact="0.1144"/>
              <dgm:constr type="t" for="ch" forName="Accent1" refType="h" fact="0"/>
              <dgm:constr type="w" for="ch" forName="Accent1" refType="w" fact="0.5542"/>
              <dgm:constr type="h" for="ch" forName="Accent1" refType="h" fact="0.6665"/>
              <dgm:constr type="l" for="ch" forName="Parent1" refType="w" fact="0.2368"/>
              <dgm:constr type="t" for="ch" forName="Parent1" refType="h" fact="0.2413"/>
              <dgm:constr type="w" for="ch" forName="Parent1" refType="w" fact="0.3092"/>
              <dgm:constr type="h" for="ch" forName="Parent1" refType="h" fact="0.1859"/>
              <dgm:constr type="l" for="ch" forName="Parent2" refType="w" fact="0.0822"/>
              <dgm:constr type="t" for="ch" forName="Parent2" refType="h" fact="0.625"/>
              <dgm:constr type="w" for="ch" forName="Parent2" refType="w" fact="0.3092"/>
              <dgm:constr type="h" for="ch" forName="Parent2" refType="h" fact="0.1859"/>
              <dgm:constr type="l" for="ch" forName="Child1" refType="w" fact="0.6678"/>
              <dgm:constr type="t" for="ch" forName="Child1" refType="h" fact="0.1978"/>
              <dgm:constr type="w" for="ch" forName="Child1" refType="w" fact="0.3322"/>
              <dgm:constr type="h" for="ch" forName="Child1" refType="h" fact="0.265"/>
              <dgm:constr type="l" for="ch" forName="Child2" refType="w" fact="0.5164"/>
              <dgm:constr type="t" for="ch" forName="Child2" refType="h" fact="0.5855"/>
              <dgm:constr type="w" for="ch" forName="Child2" refType="w" fact="0.3322"/>
              <dgm:constr type="h" for="ch" forName="Child2" refType="h" fact="0.265"/>
              <dgm:constr type="l" for="ch" forName="Accent2" refType="w" fact="0"/>
              <dgm:constr type="t" for="ch" forName="Accent2" refType="h" fact="0.4272"/>
              <dgm:constr type="w" for="ch" forName="Accent2" refType="w" fact="0.4761"/>
              <dgm:constr type="h" for="ch" forName="Accent2" refType="h" fact="0.5728"/>
            </dgm:constrLst>
          </dgm:if>
          <dgm:if name="Name6" axis="ch" ptType="node" func="cnt" op="equ" val="3">
            <dgm:alg type="composite">
              <dgm:param type="ar" val="0.9039"/>
            </dgm:alg>
            <dgm:shape xmlns:r="http://schemas.openxmlformats.org/officeDocument/2006/relationships" r:blip="">
              <dgm:adjLst/>
            </dgm:shape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1" refType="w" fact="0.1479"/>
              <dgm:constr type="t" for="ch" forName="Accent1" refType="h" fact="0"/>
              <dgm:constr type="w" for="ch" forName="Accent1" refType="w" fact="0.5325"/>
              <dgm:constr type="h" for="ch" forName="Accent1" refType="h" fact="0.4814"/>
              <dgm:constr type="l" for="ch" forName="Accent2" refType="w" fact="0"/>
              <dgm:constr type="t" for="ch" forName="Accent2" refType="h" fact="0.2766"/>
              <dgm:constr type="w" for="ch" forName="Accent2" refType="w" fact="0.5325"/>
              <dgm:constr type="h" for="ch" forName="Accent2" refType="h" fact="0.4814"/>
              <dgm:constr type="l" for="ch" forName="Parent1" refType="w" fact="0.2656"/>
              <dgm:constr type="t" for="ch" forName="Parent1" refType="h" fact="0.1738"/>
              <dgm:constr type="w" for="ch" forName="Parent1" refType="w" fact="0.2959"/>
              <dgm:constr type="h" for="ch" forName="Parent1" refType="h" fact="0.1337"/>
              <dgm:constr type="l" for="ch" forName="Accent3" refType="w" fact="0.1858"/>
              <dgm:constr type="t" for="ch" forName="Accent3" refType="h" fact="0.5863"/>
              <dgm:constr type="w" for="ch" forName="Accent3" refType="w" fact="0.4575"/>
              <dgm:constr type="h" for="ch" forName="Accent3" refType="h" fact="0.4137"/>
              <dgm:constr type="l" for="ch" forName="Parent2" refType="w" fact="0.1183"/>
              <dgm:constr type="t" for="ch" forName="Parent2" refType="h" fact="0.452"/>
              <dgm:constr type="w" for="ch" forName="Parent2" refType="w" fact="0.2959"/>
              <dgm:constr type="h" for="ch" forName="Parent2" refType="h" fact="0.1337"/>
              <dgm:constr type="l" for="ch" forName="Parent3" refType="w" fact="0.2663"/>
              <dgm:constr type="t" for="ch" forName="Parent3" refType="h" fact="0.7306"/>
              <dgm:constr type="w" for="ch" forName="Parent3" refType="w" fact="0.2959"/>
              <dgm:constr type="h" for="ch" forName="Parent3" refType="h" fact="0.1337"/>
              <dgm:constr type="l" for="ch" forName="Child2" refType="w" fact="0.5325"/>
              <dgm:constr type="t" for="ch" forName="Child2" refType="h" fact="0.4217"/>
              <dgm:constr type="w" for="ch" forName="Child2" refType="w" fact="0.3195"/>
              <dgm:constr type="h" for="ch" forName="Child2" refType="h" fact="0.1926"/>
              <dgm:constr type="l" for="ch" forName="Child1" refType="w" fact="0.6805"/>
              <dgm:constr type="t" for="ch" forName="Child1" refType="h" fact="0.1435"/>
              <dgm:constr type="w" for="ch" forName="Child1" refType="w" fact="0.3195"/>
              <dgm:constr type="h" for="ch" forName="Child1" refType="h" fact="0.1926"/>
              <dgm:constr type="l" for="ch" forName="Child3" refType="w" fact="0.6805"/>
              <dgm:constr type="t" for="ch" forName="Child3" refType="h" fact="0.6998"/>
              <dgm:constr type="w" for="ch" forName="Child3" refType="w" fact="0.3195"/>
              <dgm:constr type="h" for="ch" forName="Child3" refType="h" fact="0.1926"/>
            </dgm:constrLst>
          </dgm:if>
          <dgm:if name="Name7" axis="ch" ptType="node" func="cnt" op="equ" val="4">
            <dgm:alg type="composite">
              <dgm:param type="ar" val="0.707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3771"/>
              <dgm:constr type="l" for="ch" forName="Accent2" refType="w" fact="0"/>
              <dgm:constr type="t" for="ch" forName="Accent2" refType="h" fact="0.2167"/>
              <dgm:constr type="w" for="ch" forName="Accent2" refType="w" fact="0.5331"/>
              <dgm:constr type="h" for="ch" forName="Accent2" refType="h" fact="0.3771"/>
              <dgm:constr type="l" for="ch" forName="Accent3" refType="w" fact="0.1481"/>
              <dgm:constr type="t" for="ch" forName="Accent3" refType="h" fact="0.4342"/>
              <dgm:constr type="w" for="ch" forName="Accent3" refType="w" fact="0.5331"/>
              <dgm:constr type="h" for="ch" forName="Accent3" refType="h" fact="0.3771"/>
              <dgm:constr type="l" for="ch" forName="Parent1" refType="w" fact="0.2658"/>
              <dgm:constr type="t" for="ch" forName="Parent1" refType="h" fact="0.1365"/>
              <dgm:constr type="w" for="ch" forName="Parent1" refType="w" fact="0.2975"/>
              <dgm:constr type="h" for="ch" forName="Parent1" refType="h" fact="0.1052"/>
              <dgm:constr type="l" for="ch" forName="Parent2" refType="w" fact="0.1171"/>
              <dgm:constr type="t" for="ch" forName="Parent2" refType="h" fact="0.3536"/>
              <dgm:constr type="w" for="ch" forName="Parent2" refType="w" fact="0.2975"/>
              <dgm:constr type="h" for="ch" forName="Parent2" refType="h" fact="0.1052"/>
              <dgm:constr type="l" for="ch" forName="Parent3" refType="w" fact="0.2658"/>
              <dgm:constr type="t" for="ch" forName="Parent3" refType="h" fact="0.5707"/>
              <dgm:constr type="w" for="ch" forName="Parent3" refType="w" fact="0.2975"/>
              <dgm:constr type="h" for="ch" forName="Parent3" refType="h" fact="0.1052"/>
              <dgm:constr type="l" for="ch" forName="Parent4" refType="w" fact="0.1171"/>
              <dgm:constr type="t" for="ch" forName="Parent4" refType="h" fact="0.7878"/>
              <dgm:constr type="w" for="ch" forName="Parent4" refType="w" fact="0.2975"/>
              <dgm:constr type="h" for="ch" forName="Parent4" refType="h" fact="0.1052"/>
              <dgm:constr type="l" for="ch" forName="Child1" refType="w" fact="0.6804"/>
              <dgm:constr type="t" for="ch" forName="Child1" refType="h" fact="0.1119"/>
              <dgm:constr type="w" for="ch" forName="Child1" refType="w" fact="0.3196"/>
              <dgm:constr type="h" for="ch" forName="Child1" refType="h" fact="0.15"/>
              <dgm:constr type="l" for="ch" forName="Child2" refType="w" fact="0.5348"/>
              <dgm:constr type="t" for="ch" forName="Child2" refType="h" fact="0.3312"/>
              <dgm:constr type="w" for="ch" forName="Child2" refType="w" fact="0.3196"/>
              <dgm:constr type="h" for="ch" forName="Child2" refType="h" fact="0.15"/>
              <dgm:constr type="l" for="ch" forName="Child3" refType="w" fact="0.6804"/>
              <dgm:constr type="t" for="ch" forName="Child3" refType="h" fact="0.5461"/>
              <dgm:constr type="w" for="ch" forName="Child3" refType="w" fact="0.3196"/>
              <dgm:constr type="h" for="ch" forName="Child3" refType="h" fact="0.15"/>
              <dgm:constr type="l" for="ch" forName="Child4" refType="w" fact="0.5348"/>
              <dgm:constr type="t" for="ch" forName="Child4" refType="h" fact="0.7632"/>
              <dgm:constr type="w" for="ch" forName="Child4" refType="w" fact="0.3196"/>
              <dgm:constr type="h" for="ch" forName="Child4" refType="h" fact="0.15"/>
              <dgm:constr type="l" for="ch" forName="Accent4" refType="w" fact="0.038"/>
              <dgm:constr type="t" for="ch" forName="Accent4" refType="h" fact="0.6759"/>
              <dgm:constr type="w" for="ch" forName="Accent4" refType="w" fact="0.458"/>
              <dgm:constr type="h" for="ch" forName="Accent4" refType="h" fact="0.3241"/>
            </dgm:constrLst>
          </dgm:if>
          <dgm:if name="Name8" axis="ch" ptType="node" func="cnt" op="equ" val="5">
            <dgm:alg type="composite">
              <dgm:param type="ar" val="0.581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3098"/>
              <dgm:constr type="l" for="ch" forName="Accent2" refType="w" fact="0"/>
              <dgm:constr type="t" for="ch" forName="Accent2" refType="h" fact="0.178"/>
              <dgm:constr type="w" for="ch" forName="Accent2" refType="w" fact="0.5331"/>
              <dgm:constr type="h" for="ch" forName="Accent2" refType="h" fact="0.3098"/>
              <dgm:constr type="l" for="ch" forName="Accent3" refType="w" fact="0.1481"/>
              <dgm:constr type="t" for="ch" forName="Accent3" refType="h" fact="0.3568"/>
              <dgm:constr type="w" for="ch" forName="Accent3" refType="w" fact="0.5331"/>
              <dgm:constr type="h" for="ch" forName="Accent3" refType="h" fact="0.3098"/>
              <dgm:constr type="l" for="ch" forName="Accent4" refType="w" fact="0"/>
              <dgm:constr type="t" for="ch" forName="Accent4" refType="h" fact="0.5351"/>
              <dgm:constr type="w" for="ch" forName="Accent4" refType="w" fact="0.5331"/>
              <dgm:constr type="h" for="ch" forName="Accent4" refType="h" fact="0.3098"/>
              <dgm:constr type="l" for="ch" forName="Accent5" refType="w" fact="0.186"/>
              <dgm:constr type="t" for="ch" forName="Accent5" refType="h" fact="0.7337"/>
              <dgm:constr type="w" for="ch" forName="Accent5" refType="w" fact="0.458"/>
              <dgm:constr type="h" for="ch" forName="Accent5" refType="h" fact="0.2663"/>
              <dgm:constr type="l" for="ch" forName="Parent1" refType="w" fact="0.2658"/>
              <dgm:constr type="t" for="ch" forName="Parent1" refType="h" fact="0.1122"/>
              <dgm:constr type="w" for="ch" forName="Parent1" refType="w" fact="0.2975"/>
              <dgm:constr type="h" for="ch" forName="Parent1" refType="h" fact="0.0864"/>
              <dgm:constr type="l" for="ch" forName="Parent2" refType="w" fact="0.1171"/>
              <dgm:constr type="t" for="ch" forName="Parent2" refType="h" fact="0.2906"/>
              <dgm:constr type="w" for="ch" forName="Parent2" refType="w" fact="0.2975"/>
              <dgm:constr type="h" for="ch" forName="Parent2" refType="h" fact="0.0864"/>
              <dgm:constr type="l" for="ch" forName="Parent3" refType="w" fact="0.2658"/>
              <dgm:constr type="t" for="ch" forName="Parent3" refType="h" fact="0.4689"/>
              <dgm:constr type="w" for="ch" forName="Parent3" refType="w" fact="0.2975"/>
              <dgm:constr type="h" for="ch" forName="Parent3" refType="h" fact="0.0864"/>
              <dgm:constr type="l" for="ch" forName="Parent4" refType="w" fact="0.1171"/>
              <dgm:constr type="t" for="ch" forName="Parent4" refType="h" fact="0.6473"/>
              <dgm:constr type="w" for="ch" forName="Parent4" refType="w" fact="0.2975"/>
              <dgm:constr type="h" for="ch" forName="Parent4" refType="h" fact="0.0864"/>
              <dgm:constr type="l" for="ch" forName="Parent5" refType="w" fact="0.2658"/>
              <dgm:constr type="t" for="ch" forName="Parent5" refType="h" fact="0.8257"/>
              <dgm:constr type="w" for="ch" forName="Parent5" refType="w" fact="0.2975"/>
              <dgm:constr type="h" for="ch" forName="Parent5" refType="h" fact="0.0864"/>
              <dgm:constr type="l" for="ch" forName="Child1" refType="w" fact="0.6804"/>
              <dgm:constr type="t" for="ch" forName="Child1" refType="h" fact="0.0919"/>
              <dgm:constr type="w" for="ch" forName="Child1" refType="w" fact="0.3196"/>
              <dgm:constr type="h" for="ch" forName="Child1" refType="h" fact="0.1232"/>
              <dgm:constr type="l" for="ch" forName="Child2" refType="w" fact="0.5348"/>
              <dgm:constr type="t" for="ch" forName="Child2" refType="h" fact="0.2722"/>
              <dgm:constr type="w" for="ch" forName="Child2" refType="w" fact="0.3196"/>
              <dgm:constr type="h" for="ch" forName="Child2" refType="h" fact="0.1232"/>
              <dgm:constr type="l" for="ch" forName="Child3" refType="w" fact="0.6804"/>
              <dgm:constr type="t" for="ch" forName="Child3" refType="h" fact="0.4487"/>
              <dgm:constr type="w" for="ch" forName="Child3" refType="w" fact="0.3196"/>
              <dgm:constr type="h" for="ch" forName="Child3" refType="h" fact="0.1232"/>
              <dgm:constr type="l" for="ch" forName="Child4" refType="w" fact="0.5348"/>
              <dgm:constr type="t" for="ch" forName="Child4" refType="h" fact="0.6271"/>
              <dgm:constr type="w" for="ch" forName="Child4" refType="w" fact="0.3196"/>
              <dgm:constr type="h" for="ch" forName="Child4" refType="h" fact="0.1232"/>
              <dgm:constr type="l" for="ch" forName="Child5" refType="w" fact="0.6804"/>
              <dgm:constr type="t" for="ch" forName="Child5" refType="h" fact="0.8073"/>
              <dgm:constr type="w" for="ch" forName="Child5" refType="w" fact="0.3196"/>
              <dgm:constr type="h" for="ch" forName="Child5" refType="h" fact="0.1232"/>
            </dgm:constrLst>
          </dgm:if>
          <dgm:if name="Name9" axis="ch" ptType="node" func="cnt" op="equ" val="6">
            <dgm:alg type="composite">
              <dgm:param type="ar" val="0.493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2629"/>
              <dgm:constr type="l" for="ch" forName="Accent2" refType="w" fact="0"/>
              <dgm:constr type="t" for="ch" forName="Accent2" refType="h" fact="0.1511"/>
              <dgm:constr type="w" for="ch" forName="Accent2" refType="w" fact="0.5331"/>
              <dgm:constr type="h" for="ch" forName="Accent2" refType="h" fact="0.2629"/>
              <dgm:constr type="l" for="ch" forName="Accent3" refType="w" fact="0.1481"/>
              <dgm:constr type="t" for="ch" forName="Accent3" refType="h" fact="0.3027"/>
              <dgm:constr type="w" for="ch" forName="Accent3" refType="w" fact="0.5331"/>
              <dgm:constr type="h" for="ch" forName="Accent3" refType="h" fact="0.2629"/>
              <dgm:constr type="l" for="ch" forName="Accent4" refType="w" fact="0"/>
              <dgm:constr type="t" for="ch" forName="Accent4" refType="h" fact="0.4541"/>
              <dgm:constr type="w" for="ch" forName="Accent4" refType="w" fact="0.5331"/>
              <dgm:constr type="h" for="ch" forName="Accent4" refType="h" fact="0.2629"/>
              <dgm:constr type="l" for="ch" forName="Parent1" refType="w" fact="0.2658"/>
              <dgm:constr type="t" for="ch" forName="Parent1" refType="h" fact="0.0952"/>
              <dgm:constr type="w" for="ch" forName="Parent1" refType="w" fact="0.2975"/>
              <dgm:constr type="h" for="ch" forName="Parent1" refType="h" fact="0.0733"/>
              <dgm:constr type="l" for="ch" forName="Parent2" refType="w" fact="0.1171"/>
              <dgm:constr type="t" for="ch" forName="Parent2" refType="h" fact="0.2466"/>
              <dgm:constr type="w" for="ch" forName="Parent2" refType="w" fact="0.2975"/>
              <dgm:constr type="h" for="ch" forName="Parent2" refType="h" fact="0.0733"/>
              <dgm:constr type="l" for="ch" forName="Parent3" refType="w" fact="0.2658"/>
              <dgm:constr type="t" for="ch" forName="Parent3" refType="h" fact="0.3979"/>
              <dgm:constr type="w" for="ch" forName="Parent3" refType="w" fact="0.2975"/>
              <dgm:constr type="h" for="ch" forName="Parent3" refType="h" fact="0.0733"/>
              <dgm:constr type="l" for="ch" forName="Parent4" refType="w" fact="0.1171"/>
              <dgm:constr type="t" for="ch" forName="Parent4" refType="h" fact="0.5493"/>
              <dgm:constr type="w" for="ch" forName="Parent4" refType="w" fact="0.2975"/>
              <dgm:constr type="h" for="ch" forName="Parent4" refType="h" fact="0.0733"/>
              <dgm:constr type="l" for="ch" forName="Child1" refType="w" fact="0.6804"/>
              <dgm:constr type="t" for="ch" forName="Child1" refType="h" fact="0.078"/>
              <dgm:constr type="w" for="ch" forName="Child1" refType="w" fact="0.3196"/>
              <dgm:constr type="h" for="ch" forName="Child1" refType="h" fact="0.1046"/>
              <dgm:constr type="l" for="ch" forName="Child2" refType="w" fact="0.5348"/>
              <dgm:constr type="t" for="ch" forName="Child2" refType="h" fact="0.231"/>
              <dgm:constr type="w" for="ch" forName="Child2" refType="w" fact="0.3196"/>
              <dgm:constr type="h" for="ch" forName="Child2" refType="h" fact="0.1046"/>
              <dgm:constr type="l" for="ch" forName="Child3" refType="w" fact="0.6804"/>
              <dgm:constr type="t" for="ch" forName="Child3" refType="h" fact="0.3808"/>
              <dgm:constr type="w" for="ch" forName="Child3" refType="w" fact="0.3196"/>
              <dgm:constr type="h" for="ch" forName="Child3" refType="h" fact="0.1046"/>
              <dgm:constr type="l" for="ch" forName="Child4" refType="w" fact="0.5348"/>
              <dgm:constr type="t" for="ch" forName="Child4" refType="h" fact="0.5322"/>
              <dgm:constr type="w" for="ch" forName="Child4" refType="w" fact="0.3196"/>
              <dgm:constr type="h" for="ch" forName="Child4" refType="h" fact="0.1046"/>
              <dgm:constr type="l" for="ch" forName="Accent5" refType="w" fact="0.1481"/>
              <dgm:constr type="t" for="ch" forName="Accent5" refType="h" fact="0.6053"/>
              <dgm:constr type="w" for="ch" forName="Accent5" refType="w" fact="0.5331"/>
              <dgm:constr type="h" for="ch" forName="Accent5" refType="h" fact="0.2629"/>
              <dgm:constr type="l" for="ch" forName="Accent6" refType="w" fact="0.038"/>
              <dgm:constr type="t" for="ch" forName="Accent6" refType="h" fact="0.774"/>
              <dgm:constr type="w" for="ch" forName="Accent6" refType="w" fact="0.458"/>
              <dgm:constr type="h" for="ch" forName="Accent6" refType="h" fact="0.226"/>
              <dgm:constr type="l" for="ch" forName="Parent5" refType="w" fact="0.2658"/>
              <dgm:constr type="t" for="ch" forName="Parent5" refType="h" fact="0.7005"/>
              <dgm:constr type="w" for="ch" forName="Parent5" refType="w" fact="0.2975"/>
              <dgm:constr type="h" for="ch" forName="Parent5" refType="h" fact="0.0733"/>
              <dgm:constr type="l" for="ch" forName="Parent6" refType="w" fact="0.1171"/>
              <dgm:constr type="t" for="ch" forName="Parent6" refType="h" fact="0.8519"/>
              <dgm:constr type="w" for="ch" forName="Parent6" refType="w" fact="0.2975"/>
              <dgm:constr type="h" for="ch" forName="Parent6" refType="h" fact="0.0733"/>
              <dgm:constr type="l" for="ch" forName="Child5" refType="w" fact="0.6804"/>
              <dgm:constr type="t" for="ch" forName="Child5" refType="h" fact="0.6833"/>
              <dgm:constr type="w" for="ch" forName="Child5" refType="w" fact="0.3196"/>
              <dgm:constr type="h" for="ch" forName="Child5" refType="h" fact="0.1046"/>
              <dgm:constr type="l" for="ch" forName="Child6" refType="w" fact="0.5348"/>
              <dgm:constr type="t" for="ch" forName="Child6" refType="h" fact="0.8347"/>
              <dgm:constr type="w" for="ch" forName="Child6" refType="w" fact="0.3196"/>
              <dgm:constr type="h" for="ch" forName="Child6" refType="h" fact="0.1046"/>
            </dgm:constrLst>
          </dgm:if>
          <dgm:else name="Name10">
            <dgm:alg type="composite">
              <dgm:param type="ar" val="0.428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2284"/>
              <dgm:constr type="l" for="ch" forName="Accent2" refType="w" fact="0"/>
              <dgm:constr type="t" for="ch" forName="Accent2" refType="h" fact="0.1312"/>
              <dgm:constr type="w" for="ch" forName="Accent2" refType="w" fact="0.5331"/>
              <dgm:constr type="h" for="ch" forName="Accent2" refType="h" fact="0.2284"/>
              <dgm:constr type="l" for="ch" forName="Accent3" refType="w" fact="0.1481"/>
              <dgm:constr type="t" for="ch" forName="Accent3" refType="h" fact="0.263"/>
              <dgm:constr type="w" for="ch" forName="Accent3" refType="w" fact="0.5331"/>
              <dgm:constr type="h" for="ch" forName="Accent3" refType="h" fact="0.2284"/>
              <dgm:constr type="l" for="ch" forName="Accent4" refType="w" fact="0"/>
              <dgm:constr type="t" for="ch" forName="Accent4" refType="h" fact="0.3945"/>
              <dgm:constr type="w" for="ch" forName="Accent4" refType="w" fact="0.5331"/>
              <dgm:constr type="h" for="ch" forName="Accent4" refType="h" fact="0.2284"/>
              <dgm:constr type="l" for="ch" forName="Parent1" refType="w" fact="0.2658"/>
              <dgm:constr type="t" for="ch" forName="Parent1" refType="h" fact="0.0827"/>
              <dgm:constr type="w" for="ch" forName="Parent1" refType="w" fact="0.2975"/>
              <dgm:constr type="h" for="ch" forName="Parent1" refType="h" fact="0.0637"/>
              <dgm:constr type="l" for="ch" forName="Parent2" refType="w" fact="0.1171"/>
              <dgm:constr type="t" for="ch" forName="Parent2" refType="h" fact="0.2142"/>
              <dgm:constr type="w" for="ch" forName="Parent2" refType="w" fact="0.2975"/>
              <dgm:constr type="h" for="ch" forName="Parent2" refType="h" fact="0.0637"/>
              <dgm:constr type="l" for="ch" forName="Parent3" refType="w" fact="0.2658"/>
              <dgm:constr type="t" for="ch" forName="Parent3" refType="h" fact="0.3457"/>
              <dgm:constr type="w" for="ch" forName="Parent3" refType="w" fact="0.2975"/>
              <dgm:constr type="h" for="ch" forName="Parent3" refType="h" fact="0.0637"/>
              <dgm:constr type="l" for="ch" forName="Parent4" refType="w" fact="0.1171"/>
              <dgm:constr type="t" for="ch" forName="Parent4" refType="h" fact="0.4772"/>
              <dgm:constr type="w" for="ch" forName="Parent4" refType="w" fact="0.2975"/>
              <dgm:constr type="h" for="ch" forName="Parent4" refType="h" fact="0.0637"/>
              <dgm:constr type="l" for="ch" forName="Child1" refType="w" fact="0.6804"/>
              <dgm:constr type="t" for="ch" forName="Child1" refType="h" fact="0.0678"/>
              <dgm:constr type="w" for="ch" forName="Child1" refType="w" fact="0.3196"/>
              <dgm:constr type="h" for="ch" forName="Child1" refType="h" fact="0.0908"/>
              <dgm:constr type="l" for="ch" forName="Child2" refType="w" fact="0.5348"/>
              <dgm:constr type="t" for="ch" forName="Child2" refType="h" fact="0.2006"/>
              <dgm:constr type="w" for="ch" forName="Child2" refType="w" fact="0.3196"/>
              <dgm:constr type="h" for="ch" forName="Child2" refType="h" fact="0.0908"/>
              <dgm:constr type="l" for="ch" forName="Child3" refType="w" fact="0.6804"/>
              <dgm:constr type="t" for="ch" forName="Child3" refType="h" fact="0.3308"/>
              <dgm:constr type="w" for="ch" forName="Child3" refType="w" fact="0.3196"/>
              <dgm:constr type="h" for="ch" forName="Child3" refType="h" fact="0.0908"/>
              <dgm:constr type="l" for="ch" forName="Child4" refType="w" fact="0.5348"/>
              <dgm:constr type="t" for="ch" forName="Child4" refType="h" fact="0.4623"/>
              <dgm:constr type="w" for="ch" forName="Child4" refType="w" fact="0.3196"/>
              <dgm:constr type="h" for="ch" forName="Child4" refType="h" fact="0.0908"/>
              <dgm:constr type="l" for="ch" forName="Accent5" refType="w" fact="0.1481"/>
              <dgm:constr type="t" for="ch" forName="Accent5" refType="h" fact="0.5258"/>
              <dgm:constr type="w" for="ch" forName="Accent5" refType="w" fact="0.5331"/>
              <dgm:constr type="h" for="ch" forName="Accent5" refType="h" fact="0.2284"/>
              <dgm:constr type="l" for="ch" forName="Accent6" refType="w" fact="0"/>
              <dgm:constr type="t" for="ch" forName="Accent6" refType="h" fact="0.6573"/>
              <dgm:constr type="w" for="ch" forName="Accent6" refType="w" fact="0.5331"/>
              <dgm:constr type="h" for="ch" forName="Accent6" refType="h" fact="0.2284"/>
              <dgm:constr type="l" for="ch" forName="Accent7" refType="w" fact="0.186"/>
              <dgm:constr type="t" for="ch" forName="Accent7" refType="h" fact="0.8037"/>
              <dgm:constr type="w" for="ch" forName="Accent7" refType="w" fact="0.458"/>
              <dgm:constr type="h" for="ch" forName="Accent7" refType="h" fact="0.1963"/>
              <dgm:constr type="l" for="ch" forName="Parent5" refType="w" fact="0.2658"/>
              <dgm:constr type="t" for="ch" forName="Parent5" refType="h" fact="0.6085"/>
              <dgm:constr type="w" for="ch" forName="Parent5" refType="w" fact="0.2975"/>
              <dgm:constr type="h" for="ch" forName="Parent5" refType="h" fact="0.0637"/>
              <dgm:constr type="l" for="ch" forName="Parent6" refType="w" fact="0.1171"/>
              <dgm:constr type="t" for="ch" forName="Parent6" refType="h" fact="0.74"/>
              <dgm:constr type="w" for="ch" forName="Parent6" refType="w" fact="0.2975"/>
              <dgm:constr type="h" for="ch" forName="Parent6" refType="h" fact="0.0637"/>
              <dgm:constr type="l" for="ch" forName="Parent7" refType="w" fact="0.2658"/>
              <dgm:constr type="t" for="ch" forName="Parent7" refType="h" fact="0.8715"/>
              <dgm:constr type="w" for="ch" forName="Parent7" refType="w" fact="0.2975"/>
              <dgm:constr type="h" for="ch" forName="Parent7" refType="h" fact="0.0637"/>
              <dgm:constr type="l" for="ch" forName="Child5" refType="w" fact="0.6804"/>
              <dgm:constr type="t" for="ch" forName="Child5" refType="h" fact="0.5936"/>
              <dgm:constr type="w" for="ch" forName="Child5" refType="w" fact="0.3196"/>
              <dgm:constr type="h" for="ch" forName="Child5" refType="h" fact="0.0908"/>
              <dgm:constr type="l" for="ch" forName="Child6" refType="w" fact="0.5348"/>
              <dgm:constr type="t" for="ch" forName="Child6" refType="h" fact="0.7251"/>
              <dgm:constr type="w" for="ch" forName="Child6" refType="w" fact="0.3196"/>
              <dgm:constr type="h" for="ch" forName="Child6" refType="h" fact="0.0908"/>
              <dgm:constr type="l" for="ch" forName="Child7" refType="w" fact="0.6804"/>
              <dgm:constr type="t" for="ch" forName="Child7" refType="h" fact="0.8579"/>
              <dgm:constr type="w" for="ch" forName="Child7" refType="w" fact="0.3196"/>
              <dgm:constr type="h" for="ch" forName="Child7" refType="h" fact="0.0908"/>
            </dgm:constrLst>
          </dgm:else>
        </dgm:choose>
      </dgm:if>
      <dgm:else name="Name11">
        <dgm:choose name="Name12">
          <dgm:if name="Name13" axis="ch" ptType="node" func="cnt" op="equ" val="1">
            <dgm:alg type="composite">
              <dgm:param type="ar" val="1.599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Child1" refType="w" fact="0.625"/>
              <dgm:constr type="t" for="ch" forName="Child1" refType="h" fact="0.2981"/>
              <dgm:constr type="w" for="ch" forName="Child1" refType="w" fact="0.375"/>
              <dgm:constr type="h" for="ch" forName="Child1" refType="h" fact="0.4001"/>
              <dgm:constr type="l" for="ch" forName="Accent1" refType="w" fact="0"/>
              <dgm:constr type="t" for="ch" forName="Accent1" refType="h" fact="0"/>
              <dgm:constr type="w" for="ch" forName="Accent1" refType="w" fact="0.6249"/>
              <dgm:constr type="h" for="ch" forName="Accent1" refType="h"/>
              <dgm:constr type="l" for="ch" forName="Parent1" refType="w" fact="0.138"/>
              <dgm:constr type="t" for="ch" forName="Parent1" refType="h" fact="0.362"/>
              <dgm:constr type="w" for="ch" forName="Parent1" refType="w" fact="0.3487"/>
              <dgm:constr type="h" for="ch" forName="Parent1" refType="h" fact="0.2789"/>
            </dgm:constrLst>
          </dgm:if>
          <dgm:if name="Name14" axis="ch" ptType="node" func="cnt" op="equ" val="2">
            <dgm:alg type="composite">
              <dgm:param type="ar" val="1.2026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Accent1" refType="w" fact="-0.0407"/>
              <dgm:constr type="t" for="ch" forName="Accent1" refType="h" fact="0"/>
              <dgm:constr type="w" for="ch" forName="Accent1" refType="w" fact="0.5542"/>
              <dgm:constr type="h" for="ch" forName="Accent1" refType="h" fact="0.6665"/>
              <dgm:constr type="l" for="ch" forName="Accent2" refType="w" fact="0.1533"/>
              <dgm:constr type="t" for="ch" forName="Accent2" refType="h" fact="0.4272"/>
              <dgm:constr type="w" for="ch" forName="Accent2" refType="w" fact="0.4761"/>
              <dgm:constr type="h" for="ch" forName="Accent2" refType="h" fact="0.5728"/>
              <dgm:constr type="l" for="ch" forName="Parent1" refType="w" fact="0.0822"/>
              <dgm:constr type="t" for="ch" forName="Parent1" refType="h" fact="0.2413"/>
              <dgm:constr type="w" for="ch" forName="Parent1" refType="w" fact="0.3092"/>
              <dgm:constr type="h" for="ch" forName="Parent1" refType="h" fact="0.1859"/>
              <dgm:constr type="l" for="ch" forName="Parent2" refType="w" fact="0.2368"/>
              <dgm:constr type="t" for="ch" forName="Parent2" refType="h" fact="0.625"/>
              <dgm:constr type="w" for="ch" forName="Parent2" refType="w" fact="0.3092"/>
              <dgm:constr type="h" for="ch" forName="Parent2" refType="h" fact="0.1859"/>
              <dgm:constr type="l" for="ch" forName="Child1" refType="w" fact="0.5164"/>
              <dgm:constr type="t" for="ch" forName="Child1" refType="h" fact="0.1978"/>
              <dgm:constr type="w" for="ch" forName="Child1" refType="w" fact="0.3322"/>
              <dgm:constr type="h" for="ch" forName="Child1" refType="h" fact="0.265"/>
              <dgm:constr type="l" for="ch" forName="Child2" refType="w" fact="0.6678"/>
              <dgm:constr type="t" for="ch" forName="Child2" refType="h" fact="0.5855"/>
              <dgm:constr type="w" for="ch" forName="Child2" refType="w" fact="0.3322"/>
              <dgm:constr type="h" for="ch" forName="Child2" refType="h" fact="0.265"/>
            </dgm:constrLst>
          </dgm:if>
          <dgm:if name="Name15" axis="ch" ptType="node" func="cnt" op="equ" val="3">
            <dgm:alg type="composite">
              <dgm:param type="ar" val="0.9039"/>
            </dgm:alg>
            <dgm:shape xmlns:r="http://schemas.openxmlformats.org/officeDocument/2006/relationships" r:blip="">
              <dgm:adjLst/>
            </dgm:shape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25"/>
              <dgm:constr type="h" for="ch" forName="Accent1" refType="h" fact="0.4814"/>
              <dgm:constr type="l" for="ch" forName="Accent2" refType="w" fact="0.1479"/>
              <dgm:constr type="t" for="ch" forName="Accent2" refType="h" fact="0.2766"/>
              <dgm:constr type="w" for="ch" forName="Accent2" refType="w" fact="0.5325"/>
              <dgm:constr type="h" for="ch" forName="Accent2" refType="h" fact="0.4814"/>
              <dgm:constr type="l" for="ch" forName="Accent3" refType="w" fact="0.0378"/>
              <dgm:constr type="t" for="ch" forName="Accent3" refType="h" fact="0.5863"/>
              <dgm:constr type="w" for="ch" forName="Accent3" refType="w" fact="0.4575"/>
              <dgm:constr type="h" for="ch" forName="Accent3" refType="h" fact="0.4137"/>
              <dgm:constr type="l" for="ch" forName="Parent1" refType="w" fact="0.1183"/>
              <dgm:constr type="t" for="ch" forName="Parent1" refType="h" fact="0.1738"/>
              <dgm:constr type="w" for="ch" forName="Parent1" refType="w" fact="0.2959"/>
              <dgm:constr type="h" for="ch" forName="Parent1" refType="h" fact="0.1337"/>
              <dgm:constr type="l" for="ch" forName="Parent2" refType="w" fact="0.2656"/>
              <dgm:constr type="t" for="ch" forName="Parent2" refType="h" fact="0.452"/>
              <dgm:constr type="w" for="ch" forName="Parent2" refType="w" fact="0.2959"/>
              <dgm:constr type="h" for="ch" forName="Parent2" refType="h" fact="0.1337"/>
              <dgm:constr type="l" for="ch" forName="Parent3" refType="w" fact="0.1183"/>
              <dgm:constr type="t" for="ch" forName="Parent3" refType="h" fact="0.7306"/>
              <dgm:constr type="w" for="ch" forName="Parent3" refType="w" fact="0.2959"/>
              <dgm:constr type="h" for="ch" forName="Parent3" refType="h" fact="0.1337"/>
              <dgm:constr type="l" for="ch" forName="Child1" refType="w" fact="0.5325"/>
              <dgm:constr type="t" for="ch" forName="Child1" refType="h" fact="0.1435"/>
              <dgm:constr type="w" for="ch" forName="Child1" refType="w" fact="0.3195"/>
              <dgm:constr type="h" for="ch" forName="Child1" refType="h" fact="0.1926"/>
              <dgm:constr type="l" for="ch" forName="Child2" refType="w" fact="0.6805"/>
              <dgm:constr type="t" for="ch" forName="Child2" refType="h" fact="0.4217"/>
              <dgm:constr type="w" for="ch" forName="Child2" refType="w" fact="0.3195"/>
              <dgm:constr type="h" for="ch" forName="Child2" refType="h" fact="0.1926"/>
              <dgm:constr type="l" for="ch" forName="Child3" refType="w" fact="0.5325"/>
              <dgm:constr type="t" for="ch" forName="Child3" refType="h" fact="0.6998"/>
              <dgm:constr type="w" for="ch" forName="Child3" refType="w" fact="0.3195"/>
              <dgm:constr type="h" for="ch" forName="Child3" refType="h" fact="0.1926"/>
            </dgm:constrLst>
          </dgm:if>
          <dgm:if name="Name16" axis="ch" ptType="node" func="cnt" op="equ" val="4">
            <dgm:alg type="composite">
              <dgm:param type="ar" val="0.707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3771"/>
              <dgm:constr type="l" for="ch" forName="Accent2" refType="w" fact="0.1481"/>
              <dgm:constr type="t" for="ch" forName="Accent2" refType="h" fact="0.2167"/>
              <dgm:constr type="w" for="ch" forName="Accent2" refType="w" fact="0.5331"/>
              <dgm:constr type="h" for="ch" forName="Accent2" refType="h" fact="0.3771"/>
              <dgm:constr type="l" for="ch" forName="Accent3" refType="w" fact="0"/>
              <dgm:constr type="t" for="ch" forName="Accent3" refType="h" fact="0.4342"/>
              <dgm:constr type="w" for="ch" forName="Accent3" refType="w" fact="0.5331"/>
              <dgm:constr type="h" for="ch" forName="Accent3" refType="h" fact="0.3771"/>
              <dgm:constr type="l" for="ch" forName="Accent4" refType="w" fact="0.186"/>
              <dgm:constr type="t" for="ch" forName="Accent4" refType="h" fact="0.6759"/>
              <dgm:constr type="w" for="ch" forName="Accent4" refType="w" fact="0.458"/>
              <dgm:constr type="h" for="ch" forName="Accent4" refType="h" fact="0.3241"/>
              <dgm:constr type="l" for="ch" forName="Parent1" refType="w" fact="0.1171"/>
              <dgm:constr type="t" for="ch" forName="Parent1" refType="h" fact="0.1365"/>
              <dgm:constr type="w" for="ch" forName="Parent1" refType="w" fact="0.2975"/>
              <dgm:constr type="h" for="ch" forName="Parent1" refType="h" fact="0.1052"/>
              <dgm:constr type="l" for="ch" forName="Parent2" refType="w" fact="0.2658"/>
              <dgm:constr type="t" for="ch" forName="Parent2" refType="h" fact="0.3536"/>
              <dgm:constr type="w" for="ch" forName="Parent2" refType="w" fact="0.2975"/>
              <dgm:constr type="h" for="ch" forName="Parent2" refType="h" fact="0.1052"/>
              <dgm:constr type="l" for="ch" forName="Parent3" refType="w" fact="0.1171"/>
              <dgm:constr type="t" for="ch" forName="Parent3" refType="h" fact="0.5707"/>
              <dgm:constr type="w" for="ch" forName="Parent3" refType="w" fact="0.2975"/>
              <dgm:constr type="h" for="ch" forName="Parent3" refType="h" fact="0.1052"/>
              <dgm:constr type="l" for="ch" forName="Parent4" refType="w" fact="0.2658"/>
              <dgm:constr type="t" for="ch" forName="Parent4" refType="h" fact="0.7878"/>
              <dgm:constr type="w" for="ch" forName="Parent4" refType="w" fact="0.2975"/>
              <dgm:constr type="h" for="ch" forName="Parent4" refType="h" fact="0.1052"/>
              <dgm:constr type="l" for="ch" forName="Child1" refType="w" fact="0.5348"/>
              <dgm:constr type="t" for="ch" forName="Child1" refType="h" fact="0.1119"/>
              <dgm:constr type="w" for="ch" forName="Child1" refType="w" fact="0.3196"/>
              <dgm:constr type="h" for="ch" forName="Child1" refType="h" fact="0.15"/>
              <dgm:constr type="l" for="ch" forName="Child2" refType="w" fact="0.6804"/>
              <dgm:constr type="t" for="ch" forName="Child2" refType="h" fact="0.3312"/>
              <dgm:constr type="w" for="ch" forName="Child2" refType="w" fact="0.3196"/>
              <dgm:constr type="h" for="ch" forName="Child2" refType="h" fact="0.15"/>
              <dgm:constr type="l" for="ch" forName="Child3" refType="w" fact="0.5348"/>
              <dgm:constr type="t" for="ch" forName="Child3" refType="h" fact="0.5461"/>
              <dgm:constr type="w" for="ch" forName="Child3" refType="w" fact="0.3196"/>
              <dgm:constr type="h" for="ch" forName="Child3" refType="h" fact="0.15"/>
              <dgm:constr type="l" for="ch" forName="Child4" refType="w" fact="0.6804"/>
              <dgm:constr type="t" for="ch" forName="Child4" refType="h" fact="0.7632"/>
              <dgm:constr type="w" for="ch" forName="Child4" refType="w" fact="0.3196"/>
              <dgm:constr type="h" for="ch" forName="Child4" refType="h" fact="0.15"/>
            </dgm:constrLst>
          </dgm:if>
          <dgm:if name="Name17" axis="ch" ptType="node" func="cnt" op="equ" val="5">
            <dgm:alg type="composite">
              <dgm:param type="ar" val="0.581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3098"/>
              <dgm:constr type="l" for="ch" forName="Accent2" refType="w" fact="0.1481"/>
              <dgm:constr type="t" for="ch" forName="Accent2" refType="h" fact="0.178"/>
              <dgm:constr type="w" for="ch" forName="Accent2" refType="w" fact="0.5331"/>
              <dgm:constr type="h" for="ch" forName="Accent2" refType="h" fact="0.3098"/>
              <dgm:constr type="l" for="ch" forName="Accent3" refType="w" fact="0"/>
              <dgm:constr type="t" for="ch" forName="Accent3" refType="h" fact="0.3568"/>
              <dgm:constr type="w" for="ch" forName="Accent3" refType="w" fact="0.5331"/>
              <dgm:constr type="h" for="ch" forName="Accent3" refType="h" fact="0.3098"/>
              <dgm:constr type="l" for="ch" forName="Accent4" refType="w" fact="0.1481"/>
              <dgm:constr type="t" for="ch" forName="Accent4" refType="h" fact="0.5351"/>
              <dgm:constr type="w" for="ch" forName="Accent4" refType="w" fact="0.5331"/>
              <dgm:constr type="h" for="ch" forName="Accent4" refType="h" fact="0.3098"/>
              <dgm:constr type="l" for="ch" forName="Accent5" refType="w" fact="0.0378"/>
              <dgm:constr type="t" for="ch" forName="Accent5" refType="h" fact="0.7337"/>
              <dgm:constr type="w" for="ch" forName="Accent5" refType="w" fact="0.458"/>
              <dgm:constr type="h" for="ch" forName="Accent5" refType="h" fact="0.2663"/>
              <dgm:constr type="l" for="ch" forName="Parent1" refType="w" fact="0.1171"/>
              <dgm:constr type="t" for="ch" forName="Parent1" refType="h" fact="0.1122"/>
              <dgm:constr type="w" for="ch" forName="Parent1" refType="w" fact="0.2975"/>
              <dgm:constr type="h" for="ch" forName="Parent1" refType="h" fact="0.0864"/>
              <dgm:constr type="l" for="ch" forName="Parent2" refType="w" fact="0.2658"/>
              <dgm:constr type="t" for="ch" forName="Parent2" refType="h" fact="0.2906"/>
              <dgm:constr type="w" for="ch" forName="Parent2" refType="w" fact="0.2975"/>
              <dgm:constr type="h" for="ch" forName="Parent2" refType="h" fact="0.0864"/>
              <dgm:constr type="l" for="ch" forName="Parent3" refType="w" fact="0.1171"/>
              <dgm:constr type="t" for="ch" forName="Parent3" refType="h" fact="0.4689"/>
              <dgm:constr type="w" for="ch" forName="Parent3" refType="w" fact="0.2975"/>
              <dgm:constr type="h" for="ch" forName="Parent3" refType="h" fact="0.0864"/>
              <dgm:constr type="l" for="ch" forName="Parent4" refType="w" fact="0.2658"/>
              <dgm:constr type="t" for="ch" forName="Parent4" refType="h" fact="0.6473"/>
              <dgm:constr type="w" for="ch" forName="Parent4" refType="w" fact="0.2975"/>
              <dgm:constr type="h" for="ch" forName="Parent4" refType="h" fact="0.0864"/>
              <dgm:constr type="l" for="ch" forName="Parent5" refType="w" fact="0.1171"/>
              <dgm:constr type="t" for="ch" forName="Parent5" refType="h" fact="0.8257"/>
              <dgm:constr type="w" for="ch" forName="Parent5" refType="w" fact="0.2975"/>
              <dgm:constr type="h" for="ch" forName="Parent5" refType="h" fact="0.0864"/>
              <dgm:constr type="l" for="ch" forName="Child1" refType="w" fact="0.5348"/>
              <dgm:constr type="t" for="ch" forName="Child1" refType="h" fact="0.0919"/>
              <dgm:constr type="w" for="ch" forName="Child1" refType="w" fact="0.3196"/>
              <dgm:constr type="h" for="ch" forName="Child1" refType="h" fact="0.1232"/>
              <dgm:constr type="l" for="ch" forName="Child2" refType="w" fact="0.6804"/>
              <dgm:constr type="t" for="ch" forName="Child2" refType="h" fact="0.2722"/>
              <dgm:constr type="w" for="ch" forName="Child2" refType="w" fact="0.3196"/>
              <dgm:constr type="h" for="ch" forName="Child2" refType="h" fact="0.1232"/>
              <dgm:constr type="l" for="ch" forName="Child3" refType="w" fact="0.5348"/>
              <dgm:constr type="t" for="ch" forName="Child3" refType="h" fact="0.4487"/>
              <dgm:constr type="w" for="ch" forName="Child3" refType="w" fact="0.3196"/>
              <dgm:constr type="h" for="ch" forName="Child3" refType="h" fact="0.1232"/>
              <dgm:constr type="l" for="ch" forName="Child4" refType="w" fact="0.6804"/>
              <dgm:constr type="t" for="ch" forName="Child4" refType="h" fact="0.6271"/>
              <dgm:constr type="w" for="ch" forName="Child4" refType="w" fact="0.3196"/>
              <dgm:constr type="h" for="ch" forName="Child4" refType="h" fact="0.1232"/>
              <dgm:constr type="l" for="ch" forName="Child5" refType="w" fact="0.5348"/>
              <dgm:constr type="t" for="ch" forName="Child5" refType="h" fact="0.8073"/>
              <dgm:constr type="w" for="ch" forName="Child5" refType="w" fact="0.3196"/>
              <dgm:constr type="h" for="ch" forName="Child5" refType="h" fact="0.1232"/>
            </dgm:constrLst>
          </dgm:if>
          <dgm:if name="Name18" axis="ch" ptType="node" func="cnt" op="equ" val="6">
            <dgm:alg type="composite">
              <dgm:param type="ar" val="0.493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2629"/>
              <dgm:constr type="l" for="ch" forName="Accent2" refType="w" fact="0.1481"/>
              <dgm:constr type="t" for="ch" forName="Accent2" refType="h" fact="0.1511"/>
              <dgm:constr type="w" for="ch" forName="Accent2" refType="w" fact="0.5331"/>
              <dgm:constr type="h" for="ch" forName="Accent2" refType="h" fact="0.2629"/>
              <dgm:constr type="l" for="ch" forName="Accent3" refType="w" fact="0"/>
              <dgm:constr type="t" for="ch" forName="Accent3" refType="h" fact="0.3027"/>
              <dgm:constr type="w" for="ch" forName="Accent3" refType="w" fact="0.5331"/>
              <dgm:constr type="h" for="ch" forName="Accent3" refType="h" fact="0.2629"/>
              <dgm:constr type="l" for="ch" forName="Accent4" refType="w" fact="0.1481"/>
              <dgm:constr type="t" for="ch" forName="Accent4" refType="h" fact="0.4541"/>
              <dgm:constr type="w" for="ch" forName="Accent4" refType="w" fact="0.5331"/>
              <dgm:constr type="h" for="ch" forName="Accent4" refType="h" fact="0.2629"/>
              <dgm:constr type="l" for="ch" forName="Accent5" refType="w" fact="0"/>
              <dgm:constr type="t" for="ch" forName="Accent5" refType="h" fact="0.6053"/>
              <dgm:constr type="w" for="ch" forName="Accent5" refType="w" fact="0.5331"/>
              <dgm:constr type="h" for="ch" forName="Accent5" refType="h" fact="0.2629"/>
              <dgm:constr type="l" for="ch" forName="Accent6" refType="w" fact="0.186"/>
              <dgm:constr type="t" for="ch" forName="Accent6" refType="h" fact="0.774"/>
              <dgm:constr type="w" for="ch" forName="Accent6" refType="w" fact="0.458"/>
              <dgm:constr type="h" for="ch" forName="Accent6" refType="h" fact="0.226"/>
              <dgm:constr type="l" for="ch" forName="Parent1" refType="w" fact="0.1171"/>
              <dgm:constr type="t" for="ch" forName="Parent1" refType="h" fact="0.0952"/>
              <dgm:constr type="w" for="ch" forName="Parent1" refType="w" fact="0.2975"/>
              <dgm:constr type="h" for="ch" forName="Parent1" refType="h" fact="0.0733"/>
              <dgm:constr type="l" for="ch" forName="Parent2" refType="w" fact="0.2658"/>
              <dgm:constr type="t" for="ch" forName="Parent2" refType="h" fact="0.2466"/>
              <dgm:constr type="w" for="ch" forName="Parent2" refType="w" fact="0.2975"/>
              <dgm:constr type="h" for="ch" forName="Parent2" refType="h" fact="0.0733"/>
              <dgm:constr type="l" for="ch" forName="Parent3" refType="w" fact="0.1171"/>
              <dgm:constr type="t" for="ch" forName="Parent3" refType="h" fact="0.3979"/>
              <dgm:constr type="w" for="ch" forName="Parent3" refType="w" fact="0.2975"/>
              <dgm:constr type="h" for="ch" forName="Parent3" refType="h" fact="0.0733"/>
              <dgm:constr type="l" for="ch" forName="Parent4" refType="w" fact="0.2658"/>
              <dgm:constr type="t" for="ch" forName="Parent4" refType="h" fact="0.5493"/>
              <dgm:constr type="w" for="ch" forName="Parent4" refType="w" fact="0.2975"/>
              <dgm:constr type="h" for="ch" forName="Parent4" refType="h" fact="0.0733"/>
              <dgm:constr type="l" for="ch" forName="Parent5" refType="w" fact="0.1171"/>
              <dgm:constr type="t" for="ch" forName="Parent5" refType="h" fact="0.7005"/>
              <dgm:constr type="w" for="ch" forName="Parent5" refType="w" fact="0.2975"/>
              <dgm:constr type="h" for="ch" forName="Parent5" refType="h" fact="0.0733"/>
              <dgm:constr type="l" for="ch" forName="Parent6" refType="w" fact="0.2658"/>
              <dgm:constr type="t" for="ch" forName="Parent6" refType="h" fact="0.8519"/>
              <dgm:constr type="w" for="ch" forName="Parent6" refType="w" fact="0.2975"/>
              <dgm:constr type="h" for="ch" forName="Parent6" refType="h" fact="0.0733"/>
              <dgm:constr type="l" for="ch" forName="Child1" refType="w" fact="0.5348"/>
              <dgm:constr type="t" for="ch" forName="Child1" refType="h" fact="0.078"/>
              <dgm:constr type="w" for="ch" forName="Child1" refType="w" fact="0.3196"/>
              <dgm:constr type="h" for="ch" forName="Child1" refType="h" fact="0.1046"/>
              <dgm:constr type="l" for="ch" forName="Child2" refType="w" fact="0.6804"/>
              <dgm:constr type="t" for="ch" forName="Child2" refType="h" fact="0.231"/>
              <dgm:constr type="w" for="ch" forName="Child2" refType="w" fact="0.3196"/>
              <dgm:constr type="h" for="ch" forName="Child2" refType="h" fact="0.1046"/>
              <dgm:constr type="l" for="ch" forName="Child3" refType="w" fact="0.5348"/>
              <dgm:constr type="t" for="ch" forName="Child3" refType="h" fact="0.3808"/>
              <dgm:constr type="w" for="ch" forName="Child3" refType="w" fact="0.3196"/>
              <dgm:constr type="h" for="ch" forName="Child3" refType="h" fact="0.1046"/>
              <dgm:constr type="l" for="ch" forName="Child4" refType="w" fact="0.6804"/>
              <dgm:constr type="t" for="ch" forName="Child4" refType="h" fact="0.5322"/>
              <dgm:constr type="w" for="ch" forName="Child4" refType="w" fact="0.3196"/>
              <dgm:constr type="h" for="ch" forName="Child4" refType="h" fact="0.1046"/>
              <dgm:constr type="l" for="ch" forName="Child5" refType="w" fact="0.5348"/>
              <dgm:constr type="t" for="ch" forName="Child5" refType="h" fact="0.6833"/>
              <dgm:constr type="w" for="ch" forName="Child5" refType="w" fact="0.3196"/>
              <dgm:constr type="h" for="ch" forName="Child5" refType="h" fact="0.1046"/>
              <dgm:constr type="l" for="ch" forName="Child6" refType="w" fact="0.6804"/>
              <dgm:constr type="t" for="ch" forName="Child6" refType="h" fact="0.8347"/>
              <dgm:constr type="w" for="ch" forName="Child6" refType="w" fact="0.3196"/>
              <dgm:constr type="h" for="ch" forName="Child6" refType="h" fact="0.1046"/>
            </dgm:constrLst>
          </dgm:if>
          <dgm:else name="Name19">
            <dgm:alg type="composite">
              <dgm:param type="ar" val="0.428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2284"/>
              <dgm:constr type="l" for="ch" forName="Accent2" refType="w" fact="0.1481"/>
              <dgm:constr type="t" for="ch" forName="Accent2" refType="h" fact="0.1312"/>
              <dgm:constr type="w" for="ch" forName="Accent2" refType="w" fact="0.5331"/>
              <dgm:constr type="h" for="ch" forName="Accent2" refType="h" fact="0.2284"/>
              <dgm:constr type="l" for="ch" forName="Accent3" refType="w" fact="0"/>
              <dgm:constr type="t" for="ch" forName="Accent3" refType="h" fact="0.263"/>
              <dgm:constr type="w" for="ch" forName="Accent3" refType="w" fact="0.5331"/>
              <dgm:constr type="h" for="ch" forName="Accent3" refType="h" fact="0.2284"/>
              <dgm:constr type="l" for="ch" forName="Accent4" refType="w" fact="0.1481"/>
              <dgm:constr type="t" for="ch" forName="Accent4" refType="h" fact="0.3945"/>
              <dgm:constr type="w" for="ch" forName="Accent4" refType="w" fact="0.5331"/>
              <dgm:constr type="h" for="ch" forName="Accent4" refType="h" fact="0.2284"/>
              <dgm:constr type="l" for="ch" forName="Accent5" refType="w" fact="0"/>
              <dgm:constr type="t" for="ch" forName="Accent5" refType="h" fact="0.5258"/>
              <dgm:constr type="w" for="ch" forName="Accent5" refType="w" fact="0.5331"/>
              <dgm:constr type="h" for="ch" forName="Accent5" refType="h" fact="0.2284"/>
              <dgm:constr type="l" for="ch" forName="Accent6" refType="w" fact="0.1481"/>
              <dgm:constr type="t" for="ch" forName="Accent6" refType="h" fact="0.6573"/>
              <dgm:constr type="w" for="ch" forName="Accent6" refType="w" fact="0.5331"/>
              <dgm:constr type="h" for="ch" forName="Accent6" refType="h" fact="0.2284"/>
              <dgm:constr type="l" for="ch" forName="Accent7" refType="w" fact="0.0378"/>
              <dgm:constr type="t" for="ch" forName="Accent7" refType="h" fact="0.8037"/>
              <dgm:constr type="w" for="ch" forName="Accent7" refType="w" fact="0.458"/>
              <dgm:constr type="h" for="ch" forName="Accent7" refType="h" fact="0.1963"/>
              <dgm:constr type="l" for="ch" forName="Parent1" refType="w" fact="0.1171"/>
              <dgm:constr type="t" for="ch" forName="Parent1" refType="h" fact="0.0827"/>
              <dgm:constr type="w" for="ch" forName="Parent1" refType="w" fact="0.2975"/>
              <dgm:constr type="h" for="ch" forName="Parent1" refType="h" fact="0.0637"/>
              <dgm:constr type="l" for="ch" forName="Parent2" refType="w" fact="0.2658"/>
              <dgm:constr type="t" for="ch" forName="Parent2" refType="h" fact="0.2142"/>
              <dgm:constr type="w" for="ch" forName="Parent2" refType="w" fact="0.2975"/>
              <dgm:constr type="h" for="ch" forName="Parent2" refType="h" fact="0.0637"/>
              <dgm:constr type="l" for="ch" forName="Parent3" refType="w" fact="0.1171"/>
              <dgm:constr type="t" for="ch" forName="Parent3" refType="h" fact="0.3457"/>
              <dgm:constr type="w" for="ch" forName="Parent3" refType="w" fact="0.2975"/>
              <dgm:constr type="h" for="ch" forName="Parent3" refType="h" fact="0.0637"/>
              <dgm:constr type="l" for="ch" forName="Parent4" refType="w" fact="0.2658"/>
              <dgm:constr type="t" for="ch" forName="Parent4" refType="h" fact="0.4772"/>
              <dgm:constr type="w" for="ch" forName="Parent4" refType="w" fact="0.2975"/>
              <dgm:constr type="h" for="ch" forName="Parent4" refType="h" fact="0.0637"/>
              <dgm:constr type="l" for="ch" forName="Parent5" refType="w" fact="0.1171"/>
              <dgm:constr type="t" for="ch" forName="Parent5" refType="h" fact="0.6085"/>
              <dgm:constr type="w" for="ch" forName="Parent5" refType="w" fact="0.2975"/>
              <dgm:constr type="h" for="ch" forName="Parent5" refType="h" fact="0.0637"/>
              <dgm:constr type="l" for="ch" forName="Parent6" refType="w" fact="0.2658"/>
              <dgm:constr type="t" for="ch" forName="Parent6" refType="h" fact="0.74"/>
              <dgm:constr type="w" for="ch" forName="Parent6" refType="w" fact="0.2975"/>
              <dgm:constr type="h" for="ch" forName="Parent6" refType="h" fact="0.0637"/>
              <dgm:constr type="l" for="ch" forName="Parent7" refType="w" fact="0.1171"/>
              <dgm:constr type="t" for="ch" forName="Parent7" refType="h" fact="0.8715"/>
              <dgm:constr type="w" for="ch" forName="Parent7" refType="w" fact="0.2975"/>
              <dgm:constr type="h" for="ch" forName="Parent7" refType="h" fact="0.0637"/>
              <dgm:constr type="l" for="ch" forName="Child1" refType="w" fact="0.5348"/>
              <dgm:constr type="t" for="ch" forName="Child1" refType="h" fact="0.0678"/>
              <dgm:constr type="w" for="ch" forName="Child1" refType="w" fact="0.3196"/>
              <dgm:constr type="h" for="ch" forName="Child1" refType="h" fact="0.0908"/>
              <dgm:constr type="l" for="ch" forName="Child2" refType="w" fact="0.6804"/>
              <dgm:constr type="t" for="ch" forName="Child2" refType="h" fact="0.2006"/>
              <dgm:constr type="w" for="ch" forName="Child2" refType="w" fact="0.3196"/>
              <dgm:constr type="h" for="ch" forName="Child2" refType="h" fact="0.0908"/>
              <dgm:constr type="l" for="ch" forName="Child3" refType="w" fact="0.5348"/>
              <dgm:constr type="t" for="ch" forName="Child3" refType="h" fact="0.3308"/>
              <dgm:constr type="w" for="ch" forName="Child3" refType="w" fact="0.3196"/>
              <dgm:constr type="h" for="ch" forName="Child3" refType="h" fact="0.0908"/>
              <dgm:constr type="l" for="ch" forName="Child4" refType="w" fact="0.6804"/>
              <dgm:constr type="t" for="ch" forName="Child4" refType="h" fact="0.4623"/>
              <dgm:constr type="w" for="ch" forName="Child4" refType="w" fact="0.3196"/>
              <dgm:constr type="h" for="ch" forName="Child4" refType="h" fact="0.0908"/>
              <dgm:constr type="l" for="ch" forName="Child5" refType="w" fact="0.5348"/>
              <dgm:constr type="t" for="ch" forName="Child5" refType="h" fact="0.5936"/>
              <dgm:constr type="w" for="ch" forName="Child5" refType="w" fact="0.3196"/>
              <dgm:constr type="h" for="ch" forName="Child5" refType="h" fact="0.0908"/>
              <dgm:constr type="l" for="ch" forName="Child6" refType="w" fact="0.6804"/>
              <dgm:constr type="t" for="ch" forName="Child6" refType="h" fact="0.7251"/>
              <dgm:constr type="w" for="ch" forName="Child6" refType="w" fact="0.3196"/>
              <dgm:constr type="h" for="ch" forName="Child6" refType="h" fact="0.0908"/>
              <dgm:constr type="l" for="ch" forName="Child7" refType="w" fact="0.5348"/>
              <dgm:constr type="t" for="ch" forName="Child7" refType="h" fact="0.8579"/>
              <dgm:constr type="w" for="ch" forName="Child7" refType="w" fact="0.3196"/>
              <dgm:constr type="h" for="ch" forName="Child7" refType="h" fact="0.0908"/>
            </dgm:constrLst>
          </dgm:else>
        </dgm:choose>
      </dgm:else>
    </dgm:choose>
    <dgm:forEach name="wrapper" axis="self" ptType="parTrans">
      <dgm:forEach name="accentRepeat" axis="self">
        <dgm:layoutNode name="Accent" styleLbl="node1">
          <dgm:alg type="sp"/>
          <dgm:choose name="Name20">
            <dgm:if name="Name21" func="var" arg="dir" op="equ" val="norm">
              <dgm:choose name="Name22">
                <dgm:if name="Name23" axis="precedSib" ptType="node" func="cnt" op="equ" val="0">
                  <dgm:choose name="Name24">
                    <dgm:if name="Name25" axis="followSib" ptType="node" func="cnt" op="equ" val="0">
                      <dgm:shape xmlns:r="http://schemas.openxmlformats.org/officeDocument/2006/relationships" type="circularArrow" r:blip="">
                        <dgm:adjLst>
                          <dgm:adj idx="1" val="0.1098"/>
                          <dgm:adj idx="2" val="19.0387"/>
                          <dgm:adj idx="3" val="150"/>
                          <dgm:adj idx="4" val="180"/>
                          <dgm:adj idx="5" val="0.125"/>
                        </dgm:adjLst>
                      </dgm:shape>
                    </dgm:if>
                    <dgm:else name="Name26">
                      <dgm:shape xmlns:r="http://schemas.openxmlformats.org/officeDocument/2006/relationships" type="circularArrow" r:blip="">
                        <dgm:adjLst>
                          <dgm:adj idx="1" val="0.1098"/>
                          <dgm:adj idx="2" val="19.0387"/>
                          <dgm:adj idx="3" val="75"/>
                          <dgm:adj idx="4" val="180"/>
                          <dgm:adj idx="5" val="0.125"/>
                        </dgm:adjLst>
                      </dgm:shape>
                    </dgm:else>
                  </dgm:choose>
                </dgm:if>
                <dgm:else name="Name27">
                  <dgm:choose name="Name28">
                    <dgm:if name="Name29" axis="followSib" ptType="node" func="cnt" op="equ" val="0">
                      <dgm:choose name="Name30">
                        <dgm:if name="Name31" axis="precedSib" ptType="node" func="cnt" op="equ" val="1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2" axis="precedSib" ptType="node" func="cnt" op="equ" val="2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33" axis="precedSib" ptType="node" func="cnt" op="equ" val="3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4" axis="precedSib" ptType="node" func="cnt" op="equ" val="4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35" axis="precedSib" ptType="node" func="cnt" op="equ" val="5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6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else name="Name37"/>
                      </dgm:choose>
                    </dgm:if>
                    <dgm:else name="Name38">
                      <dgm:choose name="Name39">
                        <dgm:if name="Name40" axis="precedSib" ptType="node" func="cnt" op="equ" val="0">
                          <dgm:shape xmlns:r="http://schemas.openxmlformats.org/officeDocument/2006/relationships" type="blockArc" r:blip="">
                            <dgm:adjLst>
                              <dgm:adj idx="1" val="-133.1632"/>
                              <dgm:adj idx="2" val="65"/>
                              <dgm:adj idx="3" val="0.13"/>
                            </dgm:adjLst>
                          </dgm:shape>
                        </dgm:if>
                        <dgm:if name="Name41" axis="precedSib" ptType="node" func="cnt" op="equ" val="1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2" axis="precedSib" ptType="node" func="cnt" op="equ" val="2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43" axis="precedSib" ptType="node" func="cnt" op="equ" val="3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4" axis="precedSib" ptType="node" func="cnt" op="equ" val="4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45" axis="precedSib" ptType="node" func="cnt" op="equ" val="5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6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else name="Name47"/>
                      </dgm:choose>
                    </dgm:else>
                  </dgm:choose>
                </dgm:else>
              </dgm:choose>
            </dgm:if>
            <dgm:else name="Name48">
              <dgm:choose name="Name49">
                <dgm:if name="Name50" axis="precedSib" ptType="node" func="cnt" op="equ" val="0">
                  <dgm:choose name="Name51">
                    <dgm:if name="Name52" axis="followSib" ptType="node" func="cnt" op="equ" val="0">
                      <dgm:shape xmlns:r="http://schemas.openxmlformats.org/officeDocument/2006/relationships" type="leftCircularArrow" r:blip="">
                        <dgm:adjLst>
                          <dgm:adj idx="1" val="0.1098"/>
                          <dgm:adj idx="2" val="19.0387"/>
                          <dgm:adj idx="3" val="30"/>
                          <dgm:adj idx="4" val="0"/>
                          <dgm:adj idx="5" val="0.125"/>
                        </dgm:adjLst>
                      </dgm:shape>
                    </dgm:if>
                    <dgm:else name="Name53">
                      <dgm:shape xmlns:r="http://schemas.openxmlformats.org/officeDocument/2006/relationships" type="leftCircularArrow" r:blip="">
                        <dgm:adjLst>
                          <dgm:adj idx="1" val="0.1098"/>
                          <dgm:adj idx="2" val="19.0387"/>
                          <dgm:adj idx="3" val="105"/>
                          <dgm:adj idx="4" val="0"/>
                          <dgm:adj idx="5" val="0.125"/>
                        </dgm:adjLst>
                      </dgm:shape>
                    </dgm:else>
                  </dgm:choose>
                </dgm:if>
                <dgm:else name="Name54">
                  <dgm:choose name="Name55">
                    <dgm:if name="Name56" axis="followSib" ptType="node" func="cnt" op="equ" val="0">
                      <dgm:choose name="Name57">
                        <dgm:if name="Name58" axis="precedSib" ptType="node" func="cnt" op="equ" val="1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59" axis="precedSib" ptType="node" func="cnt" op="equ" val="2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60" axis="precedSib" ptType="node" func="cnt" op="equ" val="3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61" axis="precedSib" ptType="node" func="cnt" op="equ" val="4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62" axis="precedSib" ptType="node" func="cnt" op="equ" val="5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63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else name="Name64"/>
                      </dgm:choose>
                    </dgm:if>
                    <dgm:else name="Name65">
                      <dgm:choose name="Name66">
                        <dgm:if name="Name67" axis="precedSib" ptType="node" func="cnt" op="equ" val="0">
                          <dgm:shape xmlns:r="http://schemas.openxmlformats.org/officeDocument/2006/relationships" type="blockArc" r:blip="">
                            <dgm:adjLst>
                              <dgm:adj idx="1" val="-133.1632"/>
                              <dgm:adj idx="2" val="65"/>
                              <dgm:adj idx="3" val="0.13"/>
                            </dgm:adjLst>
                          </dgm:shape>
                        </dgm:if>
                        <dgm:if name="Name68" axis="precedSib" ptType="node" func="cnt" op="equ" val="1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69" axis="precedSib" ptType="node" func="cnt" op="equ" val="2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70" axis="precedSib" ptType="node" func="cnt" op="equ" val="3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71" axis="precedSib" ptType="node" func="cnt" op="equ" val="4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72" axis="precedSib" ptType="node" func="cnt" op="equ" val="5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73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else name="Name74"/>
                      </dgm:choose>
                    </dgm:else>
                  </dgm:choose>
                </dgm:else>
              </dgm:choose>
            </dgm:else>
          </dgm:choose>
          <dgm:presOf/>
        </dgm:layoutNode>
      </dgm:forEach>
    </dgm:forEach>
    <dgm:forEach name="Name75" axis="ch" ptType="node" cnt="1">
      <dgm:layoutNode name="Accent1">
        <dgm:alg type="sp"/>
        <dgm:shape xmlns:r="http://schemas.openxmlformats.org/officeDocument/2006/relationships" r:blip="">
          <dgm:adjLst/>
        </dgm:shape>
        <dgm:presOf/>
        <dgm:constrLst/>
        <dgm:forEach name="Name76" ref="accentRepeat"/>
      </dgm:layoutNode>
      <dgm:choose name="Name77">
        <dgm:if name="Name78" axis="ch" ptType="node" func="cnt" op="gte" val="1">
          <dgm:layoutNode name="Child1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79"/>
      </dgm:choose>
      <dgm:layoutNode name="Parent1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80" axis="ch" ptType="node" st="2" cnt="1">
      <dgm:layoutNode name="Accent2">
        <dgm:alg type="sp"/>
        <dgm:shape xmlns:r="http://schemas.openxmlformats.org/officeDocument/2006/relationships" r:blip="">
          <dgm:adjLst/>
        </dgm:shape>
        <dgm:presOf/>
        <dgm:constrLst/>
        <dgm:forEach name="Name81" ref="accentRepeat"/>
      </dgm:layoutNode>
      <dgm:choose name="Name82">
        <dgm:if name="Name83" axis="ch" ptType="node" func="cnt" op="gte" val="1">
          <dgm:layoutNode name="Child2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84"/>
      </dgm:choose>
      <dgm:layoutNode name="Parent2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85" axis="ch" ptType="node" st="3" cnt="1">
      <dgm:layoutNode name="Accent3">
        <dgm:alg type="sp"/>
        <dgm:shape xmlns:r="http://schemas.openxmlformats.org/officeDocument/2006/relationships" r:blip="">
          <dgm:adjLst/>
        </dgm:shape>
        <dgm:presOf/>
        <dgm:constrLst/>
        <dgm:forEach name="Name86" ref="accentRepeat"/>
      </dgm:layoutNode>
      <dgm:choose name="Name87">
        <dgm:if name="Name88" axis="ch" ptType="node" func="cnt" op="gte" val="1">
          <dgm:layoutNode name="Child3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89"/>
      </dgm:choose>
      <dgm:layoutNode name="Parent3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Accent4">
        <dgm:alg type="sp"/>
        <dgm:shape xmlns:r="http://schemas.openxmlformats.org/officeDocument/2006/relationships" r:blip="">
          <dgm:adjLst/>
        </dgm:shape>
        <dgm:presOf/>
        <dgm:constrLst/>
        <dgm:forEach name="Name91" ref="accentRepeat"/>
      </dgm:layoutNode>
      <dgm:choose name="Name92">
        <dgm:if name="Name93" axis="ch" ptType="node" func="cnt" op="gte" val="1">
          <dgm:layoutNode name="Child4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94"/>
      </dgm:choose>
      <dgm:layoutNode name="Parent4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95" axis="ch" ptType="node" st="5" cnt="1">
      <dgm:layoutNode name="Accent5">
        <dgm:alg type="sp"/>
        <dgm:shape xmlns:r="http://schemas.openxmlformats.org/officeDocument/2006/relationships" r:blip="">
          <dgm:adjLst/>
        </dgm:shape>
        <dgm:presOf/>
        <dgm:constrLst/>
        <dgm:forEach name="Name96" ref="accentRepeat"/>
      </dgm:layoutNode>
      <dgm:choose name="Name97">
        <dgm:if name="Name98" axis="ch" ptType="node" func="cnt" op="gte" val="1">
          <dgm:layoutNode name="Child5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99"/>
      </dgm:choose>
      <dgm:layoutNode name="Parent5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100" axis="ch" ptType="node" st="6" cnt="1">
      <dgm:layoutNode name="Accent6">
        <dgm:alg type="sp"/>
        <dgm:shape xmlns:r="http://schemas.openxmlformats.org/officeDocument/2006/relationships" r:blip="">
          <dgm:adjLst/>
        </dgm:shape>
        <dgm:presOf/>
        <dgm:constrLst/>
        <dgm:forEach name="Name101" ref="accentRepeat"/>
      </dgm:layoutNode>
      <dgm:choose name="Name102">
        <dgm:if name="Name103" axis="ch" ptType="node" func="cnt" op="gte" val="1">
          <dgm:layoutNode name="Child6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104"/>
      </dgm:choose>
      <dgm:layoutNode name="Parent6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105" axis="ch" ptType="node" st="7" cnt="1">
      <dgm:layoutNode name="Accent7">
        <dgm:alg type="sp"/>
        <dgm:shape xmlns:r="http://schemas.openxmlformats.org/officeDocument/2006/relationships" r:blip="">
          <dgm:adjLst/>
        </dgm:shape>
        <dgm:presOf/>
        <dgm:constrLst/>
        <dgm:forEach name="Name106" ref="accentRepeat"/>
      </dgm:layoutNode>
      <dgm:choose name="Name107">
        <dgm:if name="Name108" axis="ch" ptType="node" func="cnt" op="gte" val="1">
          <dgm:layoutNode name="Child7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109"/>
      </dgm:choose>
      <dgm:layoutNode name="Parent7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7">
  <dgm:title val=""/>
  <dgm:desc val=""/>
  <dgm:catLst>
    <dgm:cat type="3D" pri="11700"/>
  </dgm:catLst>
  <dgm:scene3d>
    <a:camera prst="perspectiveLeft" zoom="91000"/>
    <a:lightRig rig="threePt" dir="t">
      <a:rot lat="0" lon="0" rev="20640000"/>
    </a:lightRig>
  </dgm:scene3d>
  <dgm:styleLbl name="node0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threePt" dir="t"/>
    </dgm:scene3d>
    <dgm:sp3d extrusionH="50600" prstMaterial="clear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 extrusionH="50600" prstMaterial="metal">
      <a:bevelT w="101600" h="80600" prst="relaxedInset"/>
      <a:bevelB w="80600" h="80600" prst="relaxedInset"/>
    </dgm:sp3d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threePt" dir="t"/>
    </dgm:scene3d>
    <dgm:sp3d extrusionH="50600" prstMaterial="metal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 z="57200" extrusionH="10600" prstMaterial="plastic">
      <a:bevelT w="101600" h="8600" prst="relaxedInset"/>
      <a:bevelB w="8600" h="8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 z="-211800" extrusionH="10600" prstMaterial="plastic">
      <a:bevelT w="101600" h="8600" prst="relaxedInset"/>
      <a:bevelB w="8600" h="8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 z="-110000">
      <a:bevelT w="40600" h="20600" prst="relaxedInse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sp3d z="10600">
      <a:bevelT w="40600" h="20600" prst="relaxedInse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sp3d z="-211800">
      <a:bevelT w="40600" h="20600" prst="relaxedInse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0000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 z="-110000">
      <a:bevelT w="40600" h="20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threePt" dir="t"/>
    </dgm:scene3d>
    <dgm:sp3d z="-110000">
      <a:bevelT w="40600" h="20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threePt" dir="t"/>
    </dgm:scene3d>
    <dgm:sp3d z="-110000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threePt" dir="t"/>
    </dgm:scene3d>
    <dgm:sp3d z="-110000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threePt" dir="t"/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 z="57200" extrusionH="600" contourW="3000">
      <a:bevelT w="48600" h="18600" prst="relaxedInset"/>
      <a:bevelB w="48600" h="8600" prst="relaxedInset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 z="-161800" extrusionH="10600" prstMaterial="matte">
      <a:bevelT w="90600" h="18600" prst="softRound"/>
      <a:bevelB w="48600" h="8600" prst="relaxedInset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 extrusionH="50600">
      <a:bevelT w="101600" h="80600"/>
      <a:bevelB w="80600" h="806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 extrusionH="50600">
      <a:bevelT w="101600" h="806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 z="-161800" extrusionH="10600" prstMaterial="matte">
      <a:bevelT w="90600" h="18600" prst="softRound"/>
      <a:bevelB w="48600" h="8600" prst="relaxedInset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 z="57200" extrusionH="600" contourW="3000">
      <a:bevelT w="48600" h="18600" prst="relaxedInset"/>
      <a:bevelB w="48600" h="8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 extrusionH="50600" contourW="3000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 z="-161800" extrusionH="10600" contourW="3000">
      <a:bevelT w="48600" h="8600" prst="softRound"/>
      <a:bevelB w="48600" h="8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 z="57200" extrusionH="600" contourW="3000">
      <a:bevelT w="48600" h="18600" prst="relaxedInset"/>
      <a:bevelB w="48600" h="8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 extrusionH="50600" contourW="3000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 z="-161800" extrusionH="10600" contourW="3000">
      <a:bevelT w="48600" h="8600" prst="relaxedInset"/>
      <a:bevelB w="48600" h="8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 z="57200" extrusionH="600" contourW="3000">
      <a:bevelT w="48600" h="18600" prst="relaxedInset"/>
      <a:bevelB w="48600" h="8600" prst="relaxedInset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 z="57200" extrusionH="600" contourW="3000">
      <a:bevelT w="48600" h="18600" prst="relaxedInset"/>
      <a:bevelB w="48600" h="8600" prst="relaxedInset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 z="57200" extrusionH="600" contourW="3000">
      <a:bevelT w="48600" h="18600" prst="relaxedInset"/>
      <a:bevelB w="48600" h="8600" prst="relaxedInset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 z="57200" extrusionH="600" contourW="3000">
      <a:bevelT w="48600" h="18600" prst="relaxedInset"/>
      <a:bevelB w="48600" h="8600" prst="relaxedInset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 z="-161800" extrusionH="600" contourW="3000">
      <a:bevelT w="48600" h="18600" prst="relaxedInset"/>
      <a:bevelB w="48600" h="8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 extrusionH="50600">
      <a:bevelT w="80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 z="57200" extrusionH="600" contourW="3000" prstMaterial="plastic">
      <a:bevelT w="80600" h="18600" prst="relaxedInset"/>
      <a:bevelB w="80600" h="8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1727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SG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7" y="0"/>
            <a:ext cx="3169920" cy="481727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96064683-A291-421D-98DC-2D1571ED4A7E}" type="datetimeFigureOut">
              <a:rPr lang="en-SG" smtClean="0"/>
              <a:t>25/4/2023</a:t>
            </a:fld>
            <a:endParaRPr lang="en-SG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77875" y="1200150"/>
            <a:ext cx="5759450" cy="32400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endParaRPr lang="en-SG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620577"/>
            <a:ext cx="5852160" cy="3780473"/>
          </a:xfrm>
          <a:prstGeom prst="rect">
            <a:avLst/>
          </a:prstGeom>
        </p:spPr>
        <p:txBody>
          <a:bodyPr vert="horz" lIns="96661" tIns="48331" rIns="96661" bIns="48331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G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4"/>
            <a:ext cx="3169920" cy="481726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endParaRPr lang="en-SG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7" y="9119474"/>
            <a:ext cx="3169920" cy="481726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8847348C-82C1-4597-B406-C98CFE68ECED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3420107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483306">
              <a:defRPr/>
            </a:pPr>
            <a:endParaRPr lang="en-US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483306">
              <a:defRPr/>
            </a:pPr>
            <a:fld id="{246E6C07-D41A-4B34-82DF-9CA5B967A23C}" type="slidenum">
              <a:rPr lang="en-US">
                <a:solidFill>
                  <a:prstClr val="black"/>
                </a:solidFill>
                <a:latin typeface="Calibri"/>
              </a:rPr>
              <a:pPr defTabSz="483306">
                <a:defRPr/>
              </a:pPr>
              <a:t>1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5823909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S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483306">
              <a:defRPr/>
            </a:pPr>
            <a:fld id="{EC34B84C-303E-8C40-9CA1-747CCD3BA9B8}" type="slidenum">
              <a:rPr lang="en-US">
                <a:solidFill>
                  <a:prstClr val="black"/>
                </a:solidFill>
                <a:latin typeface="Calibri"/>
              </a:rPr>
              <a:pPr defTabSz="483306">
                <a:defRPr/>
              </a:pPr>
              <a:t>2</a:t>
            </a:fld>
            <a:endParaRPr lang="en-US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7050613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S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483306">
              <a:defRPr/>
            </a:pPr>
            <a:fld id="{EC34B84C-303E-8C40-9CA1-747CCD3BA9B8}" type="slidenum">
              <a:rPr lang="en-US">
                <a:solidFill>
                  <a:prstClr val="black"/>
                </a:solidFill>
                <a:latin typeface="Calibri"/>
              </a:rPr>
              <a:pPr defTabSz="483306">
                <a:defRPr/>
              </a:pPr>
              <a:t>3</a:t>
            </a:fld>
            <a:endParaRPr lang="en-US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6081780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S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ED9A96-60D0-4463-ABA1-7E9DD12E345E}" type="slidenum">
              <a:rPr lang="en-SG" smtClean="0"/>
              <a:t>31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32163000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S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ED9A96-60D0-4463-ABA1-7E9DD12E345E}" type="slidenum">
              <a:rPr lang="en-SG" smtClean="0"/>
              <a:t>32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303171442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S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ED9A96-60D0-4463-ABA1-7E9DD12E345E}" type="slidenum">
              <a:rPr lang="en-SG" smtClean="0"/>
              <a:t>33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36910564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0.jpe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4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4.emf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- Dark" preserve="1">
  <p:cSld name="Title Slide">
    <p:bg>
      <p:bgPr>
        <a:gradFill>
          <a:gsLst>
            <a:gs pos="0">
              <a:schemeClr val="accent5"/>
            </a:gs>
            <a:gs pos="100000">
              <a:schemeClr val="accent4"/>
            </a:gs>
          </a:gsLst>
          <a:lin ang="5400012" scaled="0"/>
        </a:gradFill>
        <a:effectLst/>
      </p:bgPr>
    </p:bg>
    <p:spTree>
      <p:nvGrpSpPr>
        <p:cNvPr id="1" name="Shape 1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" name="Google Shape;143;p13"/>
          <p:cNvSpPr txBox="1">
            <a:spLocks noGrp="1"/>
          </p:cNvSpPr>
          <p:nvPr>
            <p:ph type="sldNum" idx="12"/>
          </p:nvPr>
        </p:nvSpPr>
        <p:spPr>
          <a:xfrm>
            <a:off x="11410033" y="0"/>
            <a:ext cx="578800" cy="5248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buNone/>
              <a:defRPr>
                <a:solidFill>
                  <a:schemeClr val="accent1"/>
                </a:solidFill>
              </a:defRPr>
            </a:lvl1pPr>
            <a:lvl2pPr lvl="1" rtl="0">
              <a:buNone/>
              <a:defRPr>
                <a:solidFill>
                  <a:schemeClr val="accent1"/>
                </a:solidFill>
              </a:defRPr>
            </a:lvl2pPr>
            <a:lvl3pPr lvl="2" rtl="0">
              <a:buNone/>
              <a:defRPr>
                <a:solidFill>
                  <a:schemeClr val="accent1"/>
                </a:solidFill>
              </a:defRPr>
            </a:lvl3pPr>
            <a:lvl4pPr lvl="3" rtl="0">
              <a:buNone/>
              <a:defRPr>
                <a:solidFill>
                  <a:schemeClr val="accent1"/>
                </a:solidFill>
              </a:defRPr>
            </a:lvl4pPr>
            <a:lvl5pPr lvl="4" rtl="0">
              <a:buNone/>
              <a:defRPr>
                <a:solidFill>
                  <a:schemeClr val="accent1"/>
                </a:solidFill>
              </a:defRPr>
            </a:lvl5pPr>
            <a:lvl6pPr lvl="5" rtl="0">
              <a:buNone/>
              <a:defRPr>
                <a:solidFill>
                  <a:schemeClr val="accent1"/>
                </a:solidFill>
              </a:defRPr>
            </a:lvl6pPr>
            <a:lvl7pPr lvl="6" rtl="0">
              <a:buNone/>
              <a:defRPr>
                <a:solidFill>
                  <a:schemeClr val="accent1"/>
                </a:solidFill>
              </a:defRPr>
            </a:lvl7pPr>
            <a:lvl8pPr lvl="7" rtl="0">
              <a:buNone/>
              <a:defRPr>
                <a:solidFill>
                  <a:schemeClr val="accent1"/>
                </a:solidFill>
              </a:defRPr>
            </a:lvl8pPr>
            <a:lvl9pPr lvl="8" rtl="0">
              <a:buNone/>
              <a:defRPr>
                <a:solidFill>
                  <a:schemeClr val="accent1"/>
                </a:solidFill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  <p:grpSp>
        <p:nvGrpSpPr>
          <p:cNvPr id="144" name="Google Shape;144;p13"/>
          <p:cNvGrpSpPr/>
          <p:nvPr/>
        </p:nvGrpSpPr>
        <p:grpSpPr>
          <a:xfrm>
            <a:off x="-418255" y="-24499"/>
            <a:ext cx="1823720" cy="2182673"/>
            <a:chOff x="-313691" y="-18375"/>
            <a:chExt cx="1367790" cy="1637005"/>
          </a:xfrm>
        </p:grpSpPr>
        <p:sp>
          <p:nvSpPr>
            <p:cNvPr id="145" name="Google Shape;145;p13"/>
            <p:cNvSpPr/>
            <p:nvPr/>
          </p:nvSpPr>
          <p:spPr>
            <a:xfrm>
              <a:off x="-313691" y="813730"/>
              <a:ext cx="754800" cy="804900"/>
            </a:xfrm>
            <a:prstGeom prst="parallelogram">
              <a:avLst>
                <a:gd name="adj" fmla="val 59001"/>
              </a:avLst>
            </a:prstGeom>
            <a:gradFill>
              <a:gsLst>
                <a:gs pos="0">
                  <a:schemeClr val="accent2"/>
                </a:gs>
                <a:gs pos="100000">
                  <a:schemeClr val="accent4"/>
                </a:gs>
              </a:gsLst>
              <a:lin ang="5400012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46" name="Google Shape;146;p13"/>
            <p:cNvSpPr/>
            <p:nvPr/>
          </p:nvSpPr>
          <p:spPr>
            <a:xfrm>
              <a:off x="53899" y="237925"/>
              <a:ext cx="1000200" cy="1066800"/>
            </a:xfrm>
            <a:prstGeom prst="parallelogram">
              <a:avLst>
                <a:gd name="adj" fmla="val 59001"/>
              </a:avLst>
            </a:prstGeom>
            <a:gradFill>
              <a:gsLst>
                <a:gs pos="0">
                  <a:schemeClr val="accent1"/>
                </a:gs>
                <a:gs pos="100000">
                  <a:srgbClr val="02C1D3">
                    <a:alpha val="33725"/>
                  </a:srgbClr>
                </a:gs>
              </a:gsLst>
              <a:lin ang="5400012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47" name="Google Shape;147;p13"/>
            <p:cNvSpPr/>
            <p:nvPr/>
          </p:nvSpPr>
          <p:spPr>
            <a:xfrm>
              <a:off x="304107" y="-18375"/>
              <a:ext cx="420900" cy="449100"/>
            </a:xfrm>
            <a:prstGeom prst="parallelogram">
              <a:avLst>
                <a:gd name="adj" fmla="val 59001"/>
              </a:avLst>
            </a:prstGeom>
            <a:gradFill>
              <a:gsLst>
                <a:gs pos="0">
                  <a:schemeClr val="accent1"/>
                </a:gs>
                <a:gs pos="100000">
                  <a:srgbClr val="02C1D3">
                    <a:alpha val="33725"/>
                  </a:srgbClr>
                </a:gs>
              </a:gsLst>
              <a:lin ang="5400012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pic>
        <p:nvPicPr>
          <p:cNvPr id="10" name="Picture 9" descr="A picture containing drawing&#10;&#10;Description automatically generated">
            <a:extLst>
              <a:ext uri="{FF2B5EF4-FFF2-40B4-BE49-F238E27FC236}">
                <a16:creationId xmlns:a16="http://schemas.microsoft.com/office/drawing/2014/main" id="{769E267B-B3A7-43D7-8FE4-CA77D341F09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0332" y="2034282"/>
            <a:ext cx="4951336" cy="1194653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F053DA89-F68C-4A3F-BEF6-C460FAC2CE4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538412" y="3429000"/>
            <a:ext cx="7115176" cy="1419224"/>
          </a:xfrm>
        </p:spPr>
        <p:txBody>
          <a:bodyPr anchor="t"/>
          <a:lstStyle>
            <a:lvl1pPr algn="ctr">
              <a:defRPr sz="3200" b="1">
                <a:latin typeface="Adobe Myungjo Std M" panose="02020600000000000000"/>
                <a:ea typeface="Adobe Myungjo Std M" panose="02020600000000000000"/>
              </a:defRPr>
            </a:lvl1pPr>
          </a:lstStyle>
          <a:p>
            <a:r>
              <a:rPr lang="en-US"/>
              <a:t>Click to edit Master title style</a:t>
            </a:r>
            <a:endParaRPr lang="en-SG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EAF98C73-7F62-4CA7-9304-DC9D295CF97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538411" y="4945063"/>
            <a:ext cx="7115177" cy="769937"/>
          </a:xfrm>
        </p:spPr>
        <p:txBody>
          <a:bodyPr/>
          <a:lstStyle>
            <a:lvl1pPr marL="0" indent="0" algn="ctr">
              <a:buNone/>
              <a:defRPr sz="3200" b="1">
                <a:solidFill>
                  <a:schemeClr val="bg1"/>
                </a:solidFill>
                <a:latin typeface="Arial Nova Cond" panose="020B0506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SG" dirty="0"/>
          </a:p>
        </p:txBody>
      </p:sp>
    </p:spTree>
    <p:extLst>
      <p:ext uri="{BB962C8B-B14F-4D97-AF65-F5344CB8AC3E}">
        <p14:creationId xmlns:p14="http://schemas.microsoft.com/office/powerpoint/2010/main" val="8756247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4671484" y="6550026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000">
                <a:solidFill>
                  <a:srgbClr val="FFFFFF"/>
                </a:solidFill>
              </a:defRPr>
            </a:lvl1pPr>
          </a:lstStyle>
          <a:p>
            <a:fld id="{C22C1290-EE7B-D449-A6BE-946E27353757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3D167CD-90B3-4E84-A936-2A393686FEBD}"/>
              </a:ext>
            </a:extLst>
          </p:cNvPr>
          <p:cNvSpPr txBox="1"/>
          <p:nvPr userDrawn="1"/>
        </p:nvSpPr>
        <p:spPr>
          <a:xfrm>
            <a:off x="4188229" y="6642637"/>
            <a:ext cx="381554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>
                <a:solidFill>
                  <a:schemeClr val="accent2">
                    <a:lumMod val="75000"/>
                  </a:schemeClr>
                </a:solidFill>
                <a:latin typeface="Helvetica Neue Light"/>
                <a:cs typeface="Helvetica Neue Light"/>
              </a:rPr>
              <a:t>Gradiant Corporation –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400984737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4671484" y="6550026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000">
                <a:solidFill>
                  <a:srgbClr val="FFFFFF"/>
                </a:solidFill>
              </a:defRPr>
            </a:lvl1pPr>
          </a:lstStyle>
          <a:p>
            <a:fld id="{C22C1290-EE7B-D449-A6BE-946E27353757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4EF3C1A-1151-462E-A5F9-87179D256CD1}"/>
              </a:ext>
            </a:extLst>
          </p:cNvPr>
          <p:cNvSpPr txBox="1"/>
          <p:nvPr userDrawn="1"/>
        </p:nvSpPr>
        <p:spPr>
          <a:xfrm>
            <a:off x="4188229" y="6642637"/>
            <a:ext cx="381554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>
                <a:solidFill>
                  <a:schemeClr val="accent2">
                    <a:lumMod val="75000"/>
                  </a:schemeClr>
                </a:solidFill>
                <a:latin typeface="Helvetica Neue Light"/>
                <a:cs typeface="Helvetica Neue Light"/>
              </a:rPr>
              <a:t>Gradiant Corporation –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367244154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4671484" y="6550026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000">
                <a:solidFill>
                  <a:srgbClr val="FFFFFF"/>
                </a:solidFill>
              </a:defRPr>
            </a:lvl1pPr>
          </a:lstStyle>
          <a:p>
            <a:fld id="{C22C1290-EE7B-D449-A6BE-946E27353757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CEBEDDF-D7C0-4416-93E8-1D0321BB0DFF}"/>
              </a:ext>
            </a:extLst>
          </p:cNvPr>
          <p:cNvSpPr txBox="1"/>
          <p:nvPr userDrawn="1"/>
        </p:nvSpPr>
        <p:spPr>
          <a:xfrm>
            <a:off x="4188229" y="6642637"/>
            <a:ext cx="381554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>
                <a:solidFill>
                  <a:schemeClr val="accent2">
                    <a:lumMod val="75000"/>
                  </a:schemeClr>
                </a:solidFill>
                <a:latin typeface="Helvetica Neue Light"/>
                <a:cs typeface="Helvetica Neue Light"/>
              </a:rPr>
              <a:t>Gradiant Corporation –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201903359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4671484" y="6550026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000">
                <a:solidFill>
                  <a:srgbClr val="FFFFFF"/>
                </a:solidFill>
              </a:defRPr>
            </a:lvl1pPr>
          </a:lstStyle>
          <a:p>
            <a:fld id="{C22C1290-EE7B-D449-A6BE-946E27353757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863F097-3B69-4F19-B4F2-9C16A68F7E8E}"/>
              </a:ext>
            </a:extLst>
          </p:cNvPr>
          <p:cNvSpPr txBox="1"/>
          <p:nvPr userDrawn="1"/>
        </p:nvSpPr>
        <p:spPr>
          <a:xfrm>
            <a:off x="4188229" y="6642637"/>
            <a:ext cx="381554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>
                <a:solidFill>
                  <a:schemeClr val="accent2">
                    <a:lumMod val="75000"/>
                  </a:schemeClr>
                </a:solidFill>
                <a:latin typeface="Helvetica Neue Light"/>
                <a:cs typeface="Helvetica Neue Light"/>
              </a:rPr>
              <a:t>Gradiant Corporation –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322355215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4671484" y="6550026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000">
                <a:solidFill>
                  <a:srgbClr val="FFFFFF"/>
                </a:solidFill>
              </a:defRPr>
            </a:lvl1pPr>
          </a:lstStyle>
          <a:p>
            <a:fld id="{C22C1290-EE7B-D449-A6BE-946E27353757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6F9BA9B-C437-4AC2-87BF-DD6C1692F598}"/>
              </a:ext>
            </a:extLst>
          </p:cNvPr>
          <p:cNvSpPr txBox="1"/>
          <p:nvPr userDrawn="1"/>
        </p:nvSpPr>
        <p:spPr>
          <a:xfrm>
            <a:off x="4188229" y="6356887"/>
            <a:ext cx="381554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>
                <a:solidFill>
                  <a:schemeClr val="accent2">
                    <a:lumMod val="75000"/>
                  </a:schemeClr>
                </a:solidFill>
                <a:latin typeface="Helvetica Neue Light"/>
                <a:cs typeface="Helvetica Neue Light"/>
              </a:rPr>
              <a:t>Gradiant Corporation –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254796013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4671484" y="6550026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000">
                <a:solidFill>
                  <a:srgbClr val="FFFFFF"/>
                </a:solidFill>
              </a:defRPr>
            </a:lvl1pPr>
          </a:lstStyle>
          <a:p>
            <a:fld id="{C22C1290-EE7B-D449-A6BE-946E27353757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77104A0-79B2-4904-8386-0CBA6D2B4DFF}"/>
              </a:ext>
            </a:extLst>
          </p:cNvPr>
          <p:cNvSpPr txBox="1"/>
          <p:nvPr userDrawn="1"/>
        </p:nvSpPr>
        <p:spPr>
          <a:xfrm>
            <a:off x="4188229" y="6356887"/>
            <a:ext cx="381554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>
                <a:solidFill>
                  <a:schemeClr val="accent2">
                    <a:lumMod val="75000"/>
                  </a:schemeClr>
                </a:solidFill>
                <a:latin typeface="Helvetica Neue Light"/>
                <a:cs typeface="Helvetica Neue Light"/>
              </a:rPr>
              <a:t>Gradiant Corporation –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243028875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4671484" y="6550026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000">
                <a:solidFill>
                  <a:srgbClr val="FFFFFF"/>
                </a:solidFill>
              </a:defRPr>
            </a:lvl1pPr>
          </a:lstStyle>
          <a:p>
            <a:fld id="{C22C1290-EE7B-D449-A6BE-946E27353757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352D3F8-2F50-411F-A015-44CD5295A7EE}"/>
              </a:ext>
            </a:extLst>
          </p:cNvPr>
          <p:cNvSpPr txBox="1"/>
          <p:nvPr userDrawn="1"/>
        </p:nvSpPr>
        <p:spPr>
          <a:xfrm>
            <a:off x="4188229" y="6356887"/>
            <a:ext cx="381554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>
                <a:solidFill>
                  <a:schemeClr val="accent2">
                    <a:lumMod val="75000"/>
                  </a:schemeClr>
                </a:solidFill>
                <a:latin typeface="Helvetica Neue Light"/>
                <a:cs typeface="Helvetica Neue Light"/>
              </a:rPr>
              <a:t>Gradiant Corporation –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36245711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gle Line title sty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3955" y="1737360"/>
            <a:ext cx="10972800" cy="4439603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486455" y="6610889"/>
            <a:ext cx="1227799" cy="267900"/>
          </a:xfrm>
          <a:prstGeom prst="rect">
            <a:avLst/>
          </a:prstGeom>
        </p:spPr>
        <p:txBody>
          <a:bodyPr/>
          <a:lstStyle>
            <a:lvl1pPr algn="ctr">
              <a:defRPr sz="7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15" name="Slide Number Placeholder 5"/>
          <p:cNvSpPr txBox="1">
            <a:spLocks/>
          </p:cNvSpPr>
          <p:nvPr userDrawn="1"/>
        </p:nvSpPr>
        <p:spPr>
          <a:xfrm>
            <a:off x="11405066" y="6594263"/>
            <a:ext cx="667597" cy="2679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ctr" defTabSz="914400" rtl="0" eaLnBrk="1" latinLnBrk="0" hangingPunct="1">
              <a:defRPr sz="9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B2E66B0-3717-415C-B995-3D76CC13C15E}" type="slidenum">
              <a:rPr lang="en-US" sz="900" smtClean="0"/>
              <a:pPr/>
              <a:t>‹#›</a:t>
            </a:fld>
            <a:endParaRPr lang="en-US" sz="900" dirty="0"/>
          </a:p>
        </p:txBody>
      </p:sp>
      <p:sp>
        <p:nvSpPr>
          <p:cNvPr id="20" name="Title 13"/>
          <p:cNvSpPr>
            <a:spLocks noGrp="1"/>
          </p:cNvSpPr>
          <p:nvPr>
            <p:ph type="title" hasCustomPrompt="1"/>
          </p:nvPr>
        </p:nvSpPr>
        <p:spPr>
          <a:xfrm>
            <a:off x="613955" y="316913"/>
            <a:ext cx="9515064" cy="730792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>
            <a:lvl1pPr>
              <a:defRPr sz="2400" b="0" cap="all" normalizeH="0" baseline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single line title style</a:t>
            </a:r>
            <a:endParaRPr lang="en-GB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0" y="1212933"/>
            <a:ext cx="10129019" cy="13317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0" y="1"/>
            <a:ext cx="12192000" cy="8813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pic>
        <p:nvPicPr>
          <p:cNvPr id="13" name="Picture 3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25915" y="6568215"/>
            <a:ext cx="1339456" cy="24127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95461462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ouble Line title sty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1"/>
          <p:cNvSpPr>
            <a:spLocks noGrp="1"/>
          </p:cNvSpPr>
          <p:nvPr>
            <p:ph type="body" sz="quarter" idx="11" hasCustomPrompt="1"/>
          </p:nvPr>
        </p:nvSpPr>
        <p:spPr>
          <a:xfrm>
            <a:off x="613956" y="689801"/>
            <a:ext cx="4694761" cy="418203"/>
          </a:xfrm>
          <a:noFill/>
        </p:spPr>
        <p:txBody>
          <a:bodyPr wrap="none" anchor="ctr" anchorCtr="0">
            <a:noAutofit/>
          </a:bodyPr>
          <a:lstStyle>
            <a:lvl1pPr marL="0" indent="0">
              <a:buNone/>
              <a:defRPr sz="2400" cap="all" baseline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econd line</a:t>
            </a:r>
          </a:p>
        </p:txBody>
      </p:sp>
      <p:sp>
        <p:nvSpPr>
          <p:cNvPr id="18" name="Title 13"/>
          <p:cNvSpPr>
            <a:spLocks noGrp="1"/>
          </p:cNvSpPr>
          <p:nvPr>
            <p:ph type="title" hasCustomPrompt="1"/>
          </p:nvPr>
        </p:nvSpPr>
        <p:spPr>
          <a:xfrm>
            <a:off x="613956" y="278934"/>
            <a:ext cx="8995211" cy="418203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>
              <a:defRPr sz="2400" cap="all" normalizeH="0" baseline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Double line title style</a:t>
            </a:r>
            <a:endParaRPr lang="en-GB" dirty="0"/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>
          <a:xfrm>
            <a:off x="613955" y="1720736"/>
            <a:ext cx="10972800" cy="4456227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0" y="1212933"/>
            <a:ext cx="10129019" cy="13317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486455" y="6610889"/>
            <a:ext cx="1227799" cy="267900"/>
          </a:xfrm>
          <a:prstGeom prst="rect">
            <a:avLst/>
          </a:prstGeom>
        </p:spPr>
        <p:txBody>
          <a:bodyPr/>
          <a:lstStyle>
            <a:lvl1pPr algn="ctr">
              <a:defRPr sz="7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15" name="Slide Number Placeholder 5"/>
          <p:cNvSpPr txBox="1">
            <a:spLocks/>
          </p:cNvSpPr>
          <p:nvPr userDrawn="1"/>
        </p:nvSpPr>
        <p:spPr>
          <a:xfrm>
            <a:off x="11405066" y="6594263"/>
            <a:ext cx="667597" cy="2679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ctr" defTabSz="914400" rtl="0" eaLnBrk="1" latinLnBrk="0" hangingPunct="1">
              <a:defRPr sz="9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B2E66B0-3717-415C-B995-3D76CC13C15E}" type="slidenum">
              <a:rPr lang="en-US" sz="900" smtClean="0"/>
              <a:pPr/>
              <a:t>‹#›</a:t>
            </a:fld>
            <a:endParaRPr lang="en-US" sz="900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0" y="1"/>
            <a:ext cx="12192000" cy="8813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pic>
        <p:nvPicPr>
          <p:cNvPr id="12" name="Picture 3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25915" y="6551591"/>
            <a:ext cx="1339456" cy="24127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22581997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2001447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bg2"/>
          </a:solidFill>
          <a:ln w="63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Arial"/>
              <a:ea typeface="ＭＳ Ｐゴシック"/>
              <a:cs typeface="Arial"/>
              <a:sym typeface="Arial"/>
            </a:endParaRPr>
          </a:p>
        </p:txBody>
      </p:sp>
      <p:sp>
        <p:nvSpPr>
          <p:cNvPr id="7" name="Bildplatzhalter 4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1828800"/>
            <a:ext cx="12192001" cy="5036259"/>
          </a:xfrm>
          <a:prstGeom prst="rect">
            <a:avLst/>
          </a:prstGeom>
        </p:spPr>
        <p:txBody>
          <a:bodyPr vert="horz" lIns="63057" tIns="31529" rIns="63057" bIns="31529" anchor="b" anchorCtr="1"/>
          <a:lstStyle>
            <a:lvl1pPr marL="0" indent="0">
              <a:buNone/>
              <a:defRPr sz="1867" baseline="0">
                <a:latin typeface="Arial"/>
                <a:cs typeface="Arial"/>
              </a:defRPr>
            </a:lvl1pPr>
          </a:lstStyle>
          <a:p>
            <a:r>
              <a:rPr lang="de-DE" dirty="0"/>
              <a:t>Click Icon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drag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, </a:t>
            </a:r>
            <a:r>
              <a:rPr lang="de-DE" dirty="0" err="1"/>
              <a:t>then</a:t>
            </a:r>
            <a:r>
              <a:rPr lang="de-DE" dirty="0"/>
              <a:t> send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back (</a:t>
            </a:r>
            <a:r>
              <a:rPr lang="de-DE" dirty="0" err="1"/>
              <a:t>arrange</a:t>
            </a:r>
            <a:r>
              <a:rPr lang="de-DE" dirty="0"/>
              <a:t>&gt; send </a:t>
            </a:r>
            <a:r>
              <a:rPr lang="de-DE" dirty="0" err="1"/>
              <a:t>to</a:t>
            </a:r>
            <a:r>
              <a:rPr lang="de-DE" dirty="0"/>
              <a:t> back)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719403" y="1949962"/>
            <a:ext cx="10698420" cy="459345"/>
          </a:xfrm>
          <a:prstGeom prst="rect">
            <a:avLst/>
          </a:prstGeom>
        </p:spPr>
        <p:txBody>
          <a:bodyPr lIns="0" tIns="31529" rIns="63057" bIns="31529"/>
          <a:lstStyle>
            <a:lvl1pPr algn="l">
              <a:defRPr sz="3200" baseline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Title of presentation</a:t>
            </a:r>
          </a:p>
        </p:txBody>
      </p:sp>
      <p:sp>
        <p:nvSpPr>
          <p:cNvPr id="6" name="Textplatzhalt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719403" y="2409305"/>
            <a:ext cx="8245909" cy="472616"/>
          </a:xfrm>
          <a:prstGeom prst="rect">
            <a:avLst/>
          </a:prstGeom>
        </p:spPr>
        <p:txBody>
          <a:bodyPr vert="horz" lIns="0" tIns="31529" rIns="63057" bIns="31529"/>
          <a:lstStyle>
            <a:lvl1pPr marL="0" indent="0">
              <a:buNone/>
              <a:defRPr sz="2400" baseline="0">
                <a:solidFill>
                  <a:schemeClr val="tx2"/>
                </a:solidFill>
                <a:latin typeface="Arial"/>
                <a:cs typeface="Arial"/>
              </a:defRPr>
            </a:lvl1pPr>
            <a:lvl2pPr marL="609535" indent="0">
              <a:buNone/>
              <a:defRPr sz="2400">
                <a:solidFill>
                  <a:srgbClr val="007AA1"/>
                </a:solidFill>
                <a:latin typeface="Arial"/>
                <a:cs typeface="Arial"/>
              </a:defRPr>
            </a:lvl2pPr>
            <a:lvl3pPr marL="1219072" indent="0">
              <a:buNone/>
              <a:defRPr sz="2400">
                <a:solidFill>
                  <a:srgbClr val="007AA1"/>
                </a:solidFill>
                <a:latin typeface="Arial"/>
                <a:cs typeface="Arial"/>
              </a:defRPr>
            </a:lvl3pPr>
            <a:lvl4pPr marL="1828608" indent="0">
              <a:buNone/>
              <a:defRPr sz="2400">
                <a:solidFill>
                  <a:srgbClr val="007AA1"/>
                </a:solidFill>
                <a:latin typeface="Arial"/>
                <a:cs typeface="Arial"/>
              </a:defRPr>
            </a:lvl4pPr>
            <a:lvl5pPr marL="2438144" indent="0">
              <a:buNone/>
              <a:defRPr sz="2400">
                <a:solidFill>
                  <a:srgbClr val="007AA1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21602" y="2957611"/>
            <a:ext cx="4126740" cy="528003"/>
          </a:xfrm>
          <a:prstGeom prst="rect">
            <a:avLst/>
          </a:prstGeom>
        </p:spPr>
        <p:txBody>
          <a:bodyPr lIns="0" tIns="31529" rIns="63057" bIns="31529"/>
          <a:lstStyle>
            <a:lvl1pPr marL="0" indent="0" algn="l">
              <a:buNone/>
              <a:defRPr sz="1600" baseline="0">
                <a:solidFill>
                  <a:schemeClr val="tx1"/>
                </a:solidFill>
                <a:latin typeface="Arial"/>
                <a:cs typeface="Arial"/>
              </a:defRPr>
            </a:lvl1pPr>
            <a:lvl2pPr marL="609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6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1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6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2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7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2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Date I Author</a:t>
            </a:r>
          </a:p>
        </p:txBody>
      </p:sp>
    </p:spTree>
    <p:extLst>
      <p:ext uri="{BB962C8B-B14F-4D97-AF65-F5344CB8AC3E}">
        <p14:creationId xmlns:p14="http://schemas.microsoft.com/office/powerpoint/2010/main" val="26349332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preserve="1">
  <p:cSld name="Content slide">
    <p:bg>
      <p:bgPr>
        <a:solidFill>
          <a:schemeClr val="lt1"/>
        </a:solidFill>
        <a:effectLst/>
      </p:bgPr>
    </p:bg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8" name="Google Shape;98;p9"/>
          <p:cNvGrpSpPr/>
          <p:nvPr/>
        </p:nvGrpSpPr>
        <p:grpSpPr>
          <a:xfrm>
            <a:off x="-418254" y="-435466"/>
            <a:ext cx="10014644" cy="2182673"/>
            <a:chOff x="-313691" y="-18375"/>
            <a:chExt cx="7510983" cy="1637005"/>
          </a:xfrm>
        </p:grpSpPr>
        <p:sp>
          <p:nvSpPr>
            <p:cNvPr id="99" name="Google Shape;99;p9"/>
            <p:cNvSpPr/>
            <p:nvPr/>
          </p:nvSpPr>
          <p:spPr>
            <a:xfrm>
              <a:off x="256376" y="499825"/>
              <a:ext cx="6692400" cy="804900"/>
            </a:xfrm>
            <a:prstGeom prst="parallelogram">
              <a:avLst>
                <a:gd name="adj" fmla="val 54997"/>
              </a:avLst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0" name="Google Shape;100;p9"/>
            <p:cNvSpPr/>
            <p:nvPr/>
          </p:nvSpPr>
          <p:spPr>
            <a:xfrm>
              <a:off x="-313691" y="813730"/>
              <a:ext cx="754800" cy="804900"/>
            </a:xfrm>
            <a:prstGeom prst="parallelogram">
              <a:avLst>
                <a:gd name="adj" fmla="val 59001"/>
              </a:avLst>
            </a:prstGeom>
            <a:gradFill>
              <a:gsLst>
                <a:gs pos="0">
                  <a:schemeClr val="accent2"/>
                </a:gs>
                <a:gs pos="100000">
                  <a:schemeClr val="accent4"/>
                </a:gs>
              </a:gsLst>
              <a:lin ang="5400012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1" name="Google Shape;101;p9"/>
            <p:cNvSpPr/>
            <p:nvPr/>
          </p:nvSpPr>
          <p:spPr>
            <a:xfrm>
              <a:off x="6442492" y="309450"/>
              <a:ext cx="754800" cy="804900"/>
            </a:xfrm>
            <a:prstGeom prst="parallelogram">
              <a:avLst>
                <a:gd name="adj" fmla="val 59001"/>
              </a:avLst>
            </a:prstGeom>
            <a:gradFill>
              <a:gsLst>
                <a:gs pos="0">
                  <a:schemeClr val="accent1"/>
                </a:gs>
                <a:gs pos="100000">
                  <a:srgbClr val="02C1D3">
                    <a:alpha val="33725"/>
                  </a:srgbClr>
                </a:gs>
              </a:gsLst>
              <a:lin ang="5400012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2" name="Google Shape;102;p9"/>
            <p:cNvSpPr/>
            <p:nvPr/>
          </p:nvSpPr>
          <p:spPr>
            <a:xfrm>
              <a:off x="53899" y="237925"/>
              <a:ext cx="1000200" cy="1066800"/>
            </a:xfrm>
            <a:prstGeom prst="parallelogram">
              <a:avLst>
                <a:gd name="adj" fmla="val 59001"/>
              </a:avLst>
            </a:prstGeom>
            <a:gradFill>
              <a:gsLst>
                <a:gs pos="0">
                  <a:schemeClr val="accent1"/>
                </a:gs>
                <a:gs pos="100000">
                  <a:srgbClr val="02C1D3">
                    <a:alpha val="33725"/>
                  </a:srgbClr>
                </a:gs>
              </a:gsLst>
              <a:lin ang="5400012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3" name="Google Shape;103;p9"/>
            <p:cNvSpPr/>
            <p:nvPr/>
          </p:nvSpPr>
          <p:spPr>
            <a:xfrm>
              <a:off x="304107" y="-18375"/>
              <a:ext cx="420900" cy="449100"/>
            </a:xfrm>
            <a:prstGeom prst="parallelogram">
              <a:avLst>
                <a:gd name="adj" fmla="val 59001"/>
              </a:avLst>
            </a:prstGeom>
            <a:gradFill>
              <a:gsLst>
                <a:gs pos="0">
                  <a:schemeClr val="accent1"/>
                </a:gs>
                <a:gs pos="100000">
                  <a:srgbClr val="02C1D3">
                    <a:alpha val="33725"/>
                  </a:srgbClr>
                </a:gs>
              </a:gsLst>
              <a:lin ang="5400012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4" name="Google Shape;104;p9"/>
            <p:cNvSpPr/>
            <p:nvPr/>
          </p:nvSpPr>
          <p:spPr>
            <a:xfrm>
              <a:off x="6589606" y="1038628"/>
              <a:ext cx="249600" cy="266100"/>
            </a:xfrm>
            <a:prstGeom prst="parallelogram">
              <a:avLst>
                <a:gd name="adj" fmla="val 59001"/>
              </a:avLst>
            </a:prstGeom>
            <a:gradFill>
              <a:gsLst>
                <a:gs pos="0">
                  <a:schemeClr val="accent2"/>
                </a:gs>
                <a:gs pos="100000">
                  <a:schemeClr val="accent4"/>
                </a:gs>
              </a:gsLst>
              <a:lin ang="5400012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sp>
        <p:nvSpPr>
          <p:cNvPr id="108" name="Google Shape;108;p9"/>
          <p:cNvSpPr txBox="1">
            <a:spLocks noGrp="1"/>
          </p:cNvSpPr>
          <p:nvPr>
            <p:ph type="title"/>
          </p:nvPr>
        </p:nvSpPr>
        <p:spPr>
          <a:xfrm>
            <a:off x="1229435" y="240555"/>
            <a:ext cx="8035600" cy="1084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None/>
              <a:defRPr sz="3600">
                <a:latin typeface="Arial Nova Cond" panose="020B050602020202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0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0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0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0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0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0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0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000"/>
              <a:buNone/>
              <a:defRPr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109" name="Google Shape;109;p9"/>
          <p:cNvSpPr txBox="1">
            <a:spLocks noGrp="1"/>
          </p:cNvSpPr>
          <p:nvPr>
            <p:ph type="sldNum" idx="12"/>
          </p:nvPr>
        </p:nvSpPr>
        <p:spPr>
          <a:xfrm>
            <a:off x="11410033" y="0"/>
            <a:ext cx="578800" cy="5248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290C939-52EB-417A-879E-9FA9A5EA6C4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747207"/>
            <a:ext cx="10515600" cy="4351338"/>
          </a:xfrm>
        </p:spPr>
        <p:txBody>
          <a:bodyPr/>
          <a:lstStyle>
            <a:lvl1pPr>
              <a:defRPr b="1">
                <a:latin typeface="Arial Nova Cond" panose="020B0506020202020204" pitchFamily="34" charset="0"/>
              </a:defRPr>
            </a:lvl1pPr>
            <a:lvl2pPr>
              <a:defRPr b="1">
                <a:latin typeface="Arial Nova Cond" panose="020B0506020202020204" pitchFamily="34" charset="0"/>
              </a:defRPr>
            </a:lvl2pPr>
            <a:lvl3pPr>
              <a:defRPr b="1">
                <a:latin typeface="Arial Nova Cond" panose="020B0506020202020204" pitchFamily="34" charset="0"/>
              </a:defRPr>
            </a:lvl3pPr>
            <a:lvl4pPr>
              <a:defRPr b="1">
                <a:latin typeface="Arial Nova Cond" panose="020B0506020202020204" pitchFamily="34" charset="0"/>
              </a:defRPr>
            </a:lvl4pPr>
            <a:lvl5pPr>
              <a:defRPr b="1">
                <a:latin typeface="Arial Nova Cond" panose="020B0506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G" dirty="0"/>
          </a:p>
        </p:txBody>
      </p:sp>
    </p:spTree>
    <p:extLst>
      <p:ext uri="{BB962C8B-B14F-4D97-AF65-F5344CB8AC3E}">
        <p14:creationId xmlns:p14="http://schemas.microsoft.com/office/powerpoint/2010/main" val="374455349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Slide">
    <p:bg>
      <p:bgPr>
        <a:solidFill>
          <a:srgbClr val="29A6D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icture containing outdoor, bunch, several, variety&#10;&#10;Description automatically generated">
            <a:extLst>
              <a:ext uri="{FF2B5EF4-FFF2-40B4-BE49-F238E27FC236}">
                <a16:creationId xmlns:a16="http://schemas.microsoft.com/office/drawing/2014/main" id="{3A044576-0070-4602-EE9B-E65C0C12D0A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6282" y="4894616"/>
            <a:ext cx="12185716" cy="1963010"/>
          </a:xfrm>
          <a:prstGeom prst="rect">
            <a:avLst/>
          </a:prstGeom>
        </p:spPr>
      </p:pic>
      <p:pic>
        <p:nvPicPr>
          <p:cNvPr id="12" name="Picture 11" descr="Logo&#10;&#10;Description automatically generated with medium confidence">
            <a:extLst>
              <a:ext uri="{FF2B5EF4-FFF2-40B4-BE49-F238E27FC236}">
                <a16:creationId xmlns:a16="http://schemas.microsoft.com/office/drawing/2014/main" id="{480F25FA-B559-45A4-9882-3C2A6B674D8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8979" y="5257800"/>
            <a:ext cx="4845679" cy="1829547"/>
          </a:xfrm>
          <a:prstGeom prst="rect">
            <a:avLst/>
          </a:prstGeom>
        </p:spPr>
      </p:pic>
      <p:sp>
        <p:nvSpPr>
          <p:cNvPr id="13" name="Flowchart: Document 12">
            <a:extLst>
              <a:ext uri="{FF2B5EF4-FFF2-40B4-BE49-F238E27FC236}">
                <a16:creationId xmlns:a16="http://schemas.microsoft.com/office/drawing/2014/main" id="{0A7BFBB0-A12D-478E-A239-AA45D4DBDF12}"/>
              </a:ext>
            </a:extLst>
          </p:cNvPr>
          <p:cNvSpPr/>
          <p:nvPr userDrawn="1"/>
        </p:nvSpPr>
        <p:spPr>
          <a:xfrm>
            <a:off x="6285" y="373"/>
            <a:ext cx="12185716" cy="6172200"/>
          </a:xfrm>
          <a:prstGeom prst="flowChartDocument">
            <a:avLst/>
          </a:prstGeom>
          <a:solidFill>
            <a:srgbClr val="30C6BB"/>
          </a:solidFill>
          <a:ln>
            <a:solidFill>
              <a:srgbClr val="30C6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6" name="Flowchart: Document 15">
            <a:extLst>
              <a:ext uri="{FF2B5EF4-FFF2-40B4-BE49-F238E27FC236}">
                <a16:creationId xmlns:a16="http://schemas.microsoft.com/office/drawing/2014/main" id="{D746D584-F5AD-4BDF-A273-5A77DBE383A5}"/>
              </a:ext>
            </a:extLst>
          </p:cNvPr>
          <p:cNvSpPr/>
          <p:nvPr userDrawn="1"/>
        </p:nvSpPr>
        <p:spPr>
          <a:xfrm>
            <a:off x="0" y="0"/>
            <a:ext cx="12192000" cy="5943600"/>
          </a:xfrm>
          <a:prstGeom prst="flowChartDocumen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7" name="Picture 16" descr="A picture containing ray, fish&#10;&#10;Description automatically generated">
            <a:extLst>
              <a:ext uri="{FF2B5EF4-FFF2-40B4-BE49-F238E27FC236}">
                <a16:creationId xmlns:a16="http://schemas.microsoft.com/office/drawing/2014/main" id="{AD962BD7-C16D-4C51-86F2-2BDA29E84A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12185716" cy="4724400"/>
          </a:xfrm>
          <a:prstGeom prst="rect">
            <a:avLst/>
          </a:prstGeom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BAA24662-370B-B6F4-F15D-5CA3EB8E3EFB}"/>
              </a:ext>
            </a:extLst>
          </p:cNvPr>
          <p:cNvCxnSpPr>
            <a:cxnSpLocks/>
          </p:cNvCxnSpPr>
          <p:nvPr userDrawn="1"/>
        </p:nvCxnSpPr>
        <p:spPr>
          <a:xfrm>
            <a:off x="-20961" y="2788689"/>
            <a:ext cx="7924800" cy="0"/>
          </a:xfrm>
          <a:prstGeom prst="line">
            <a:avLst/>
          </a:prstGeom>
          <a:ln w="57150">
            <a:solidFill>
              <a:srgbClr val="29A6D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6E954393-A09C-9EF3-A6B3-0EDD3C00CAD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1287" y="947835"/>
            <a:ext cx="8107509" cy="17910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5000" kern="1200" dirty="0" smtClean="0">
                <a:solidFill>
                  <a:srgbClr val="5F7584"/>
                </a:solidFill>
                <a:latin typeface="TT Norms Regular" panose="02000503030000020003" pitchFamily="50" charset="0"/>
                <a:ea typeface="Verdana" panose="020B0604030504040204" pitchFamily="34" charset="0"/>
                <a:cs typeface="HelveticaNeue LT 45 Light"/>
              </a:defRPr>
            </a:lvl1pPr>
            <a:lvl2pPr>
              <a:defRPr lang="en-US" sz="5000" kern="1200" dirty="0" smtClean="0">
                <a:solidFill>
                  <a:srgbClr val="5F7584"/>
                </a:solidFill>
                <a:latin typeface="TT Norms Regular" panose="02000503030000020003" pitchFamily="50" charset="0"/>
                <a:ea typeface="Verdana" panose="020B0604030504040204" pitchFamily="34" charset="0"/>
                <a:cs typeface="HelveticaNeue LT 45 Light"/>
              </a:defRPr>
            </a:lvl2pPr>
            <a:lvl3pPr>
              <a:defRPr lang="en-US" sz="5000" kern="1200" dirty="0" smtClean="0">
                <a:solidFill>
                  <a:srgbClr val="5F7584"/>
                </a:solidFill>
                <a:latin typeface="TT Norms Regular" panose="02000503030000020003" pitchFamily="50" charset="0"/>
                <a:ea typeface="Verdana" panose="020B0604030504040204" pitchFamily="34" charset="0"/>
                <a:cs typeface="HelveticaNeue LT 45 Light"/>
              </a:defRPr>
            </a:lvl3pPr>
            <a:lvl4pPr>
              <a:defRPr lang="en-US" sz="5000" kern="1200" dirty="0" smtClean="0">
                <a:solidFill>
                  <a:srgbClr val="5F7584"/>
                </a:solidFill>
                <a:latin typeface="TT Norms Regular" panose="02000503030000020003" pitchFamily="50" charset="0"/>
                <a:ea typeface="Verdana" panose="020B0604030504040204" pitchFamily="34" charset="0"/>
                <a:cs typeface="HelveticaNeue LT 45 Light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E42EDC71-4BBC-F813-9F16-FA9E03D3E76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6282" y="2909118"/>
            <a:ext cx="8107509" cy="584580"/>
          </a:xfrm>
          <a:prstGeom prst="rect">
            <a:avLst/>
          </a:prstGeom>
        </p:spPr>
        <p:txBody>
          <a:bodyPr/>
          <a:lstStyle>
            <a:lvl1pPr marL="0" indent="0" algn="l" defTabSz="685702" rtl="0" eaLnBrk="1" latinLnBrk="0" hangingPunct="1">
              <a:buNone/>
              <a:defRPr lang="en-US" sz="2800" b="1" kern="1200" dirty="0" smtClean="0">
                <a:solidFill>
                  <a:srgbClr val="5F7584"/>
                </a:solidFill>
                <a:latin typeface="Arkhip" pitchFamily="2" charset="-52"/>
                <a:ea typeface="Verdana" panose="020B0604030504040204" pitchFamily="34" charset="0"/>
                <a:cs typeface="HelveticaNeue LT 45 Light"/>
              </a:defRPr>
            </a:lvl1pPr>
            <a:lvl2pPr>
              <a:defRPr lang="en-US" sz="5000" kern="1200" dirty="0" smtClean="0">
                <a:solidFill>
                  <a:srgbClr val="5F7584"/>
                </a:solidFill>
                <a:latin typeface="TT Norms Regular" panose="02000503030000020003" pitchFamily="50" charset="0"/>
                <a:ea typeface="Verdana" panose="020B0604030504040204" pitchFamily="34" charset="0"/>
                <a:cs typeface="HelveticaNeue LT 45 Light"/>
              </a:defRPr>
            </a:lvl2pPr>
            <a:lvl3pPr>
              <a:defRPr lang="en-US" sz="5000" kern="1200" dirty="0" smtClean="0">
                <a:solidFill>
                  <a:srgbClr val="5F7584"/>
                </a:solidFill>
                <a:latin typeface="TT Norms Regular" panose="02000503030000020003" pitchFamily="50" charset="0"/>
                <a:ea typeface="Verdana" panose="020B0604030504040204" pitchFamily="34" charset="0"/>
                <a:cs typeface="HelveticaNeue LT 45 Light"/>
              </a:defRPr>
            </a:lvl3pPr>
            <a:lvl4pPr>
              <a:defRPr lang="en-US" sz="5000" kern="1200" dirty="0" smtClean="0">
                <a:solidFill>
                  <a:srgbClr val="5F7584"/>
                </a:solidFill>
                <a:latin typeface="TT Norms Regular" panose="02000503030000020003" pitchFamily="50" charset="0"/>
                <a:ea typeface="Verdana" panose="020B0604030504040204" pitchFamily="34" charset="0"/>
                <a:cs typeface="HelveticaNeue LT 45 Light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763C2626-82A2-AF82-A273-FF4F50CE67C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61286" y="4147875"/>
            <a:ext cx="8107509" cy="1791068"/>
          </a:xfrm>
          <a:prstGeom prst="rect">
            <a:avLst/>
          </a:prstGeom>
        </p:spPr>
        <p:txBody>
          <a:bodyPr/>
          <a:lstStyle>
            <a:lvl1pPr marL="0" indent="0" algn="l" defTabSz="685702" rtl="0" eaLnBrk="1" latinLnBrk="0" hangingPunct="1">
              <a:buNone/>
              <a:defRPr lang="en-US" sz="1800" kern="1200" dirty="0" smtClean="0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cs typeface="HelveticaNeue LT 45 Light"/>
              </a:defRPr>
            </a:lvl1pPr>
            <a:lvl2pPr>
              <a:defRPr lang="en-US" sz="5000" kern="1200" dirty="0" smtClean="0">
                <a:solidFill>
                  <a:srgbClr val="5F7584"/>
                </a:solidFill>
                <a:latin typeface="TT Norms Regular" panose="02000503030000020003" pitchFamily="50" charset="0"/>
                <a:ea typeface="Verdana" panose="020B0604030504040204" pitchFamily="34" charset="0"/>
                <a:cs typeface="HelveticaNeue LT 45 Light"/>
              </a:defRPr>
            </a:lvl2pPr>
            <a:lvl3pPr>
              <a:defRPr lang="en-US" sz="5000" kern="1200" dirty="0" smtClean="0">
                <a:solidFill>
                  <a:srgbClr val="5F7584"/>
                </a:solidFill>
                <a:latin typeface="TT Norms Regular" panose="02000503030000020003" pitchFamily="50" charset="0"/>
                <a:ea typeface="Verdana" panose="020B0604030504040204" pitchFamily="34" charset="0"/>
                <a:cs typeface="HelveticaNeue LT 45 Light"/>
              </a:defRPr>
            </a:lvl3pPr>
            <a:lvl4pPr>
              <a:defRPr lang="en-US" sz="5000" kern="1200" dirty="0" smtClean="0">
                <a:solidFill>
                  <a:srgbClr val="5F7584"/>
                </a:solidFill>
                <a:latin typeface="TT Norms Regular" panose="02000503030000020003" pitchFamily="50" charset="0"/>
                <a:ea typeface="Verdana" panose="020B0604030504040204" pitchFamily="34" charset="0"/>
                <a:cs typeface="HelveticaNeue LT 45 Light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2AB727A-2A44-FE06-D163-EC9CA6A34065}"/>
              </a:ext>
            </a:extLst>
          </p:cNvPr>
          <p:cNvSpPr txBox="1"/>
          <p:nvPr userDrawn="1"/>
        </p:nvSpPr>
        <p:spPr>
          <a:xfrm>
            <a:off x="4728713" y="6584727"/>
            <a:ext cx="273457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/>
              <a:t>GRADIANT CONFIDENTIAL</a:t>
            </a:r>
            <a:endParaRPr lang="en-SG" sz="1400"/>
          </a:p>
        </p:txBody>
      </p:sp>
    </p:spTree>
    <p:extLst>
      <p:ext uri="{BB962C8B-B14F-4D97-AF65-F5344CB8AC3E}">
        <p14:creationId xmlns:p14="http://schemas.microsoft.com/office/powerpoint/2010/main" val="39382419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bg>
      <p:bgPr>
        <a:solidFill>
          <a:srgbClr val="29A6D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A picture containing ray, fish&#10;&#10;Description automatically generated">
            <a:extLst>
              <a:ext uri="{FF2B5EF4-FFF2-40B4-BE49-F238E27FC236}">
                <a16:creationId xmlns:a16="http://schemas.microsoft.com/office/drawing/2014/main" id="{AD962BD7-C16D-4C51-86F2-2BDA29E84A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0985"/>
            <a:ext cx="12185716" cy="4724400"/>
          </a:xfrm>
          <a:prstGeom prst="rect">
            <a:avLst/>
          </a:prstGeom>
        </p:spPr>
      </p:pic>
      <p:sp>
        <p:nvSpPr>
          <p:cNvPr id="13" name="Flowchart: Document 12">
            <a:extLst>
              <a:ext uri="{FF2B5EF4-FFF2-40B4-BE49-F238E27FC236}">
                <a16:creationId xmlns:a16="http://schemas.microsoft.com/office/drawing/2014/main" id="{0A7BFBB0-A12D-478E-A239-AA45D4DBDF12}"/>
              </a:ext>
            </a:extLst>
          </p:cNvPr>
          <p:cNvSpPr/>
          <p:nvPr userDrawn="1"/>
        </p:nvSpPr>
        <p:spPr>
          <a:xfrm>
            <a:off x="6285" y="373"/>
            <a:ext cx="12185716" cy="6172200"/>
          </a:xfrm>
          <a:prstGeom prst="flowChartDocument">
            <a:avLst/>
          </a:prstGeom>
          <a:solidFill>
            <a:srgbClr val="30C6BB"/>
          </a:solidFill>
          <a:ln>
            <a:solidFill>
              <a:srgbClr val="30C6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6" name="Flowchart: Document 15">
            <a:extLst>
              <a:ext uri="{FF2B5EF4-FFF2-40B4-BE49-F238E27FC236}">
                <a16:creationId xmlns:a16="http://schemas.microsoft.com/office/drawing/2014/main" id="{D746D584-F5AD-4BDF-A273-5A77DBE383A5}"/>
              </a:ext>
            </a:extLst>
          </p:cNvPr>
          <p:cNvSpPr/>
          <p:nvPr userDrawn="1"/>
        </p:nvSpPr>
        <p:spPr>
          <a:xfrm>
            <a:off x="0" y="0"/>
            <a:ext cx="12192000" cy="5943600"/>
          </a:xfrm>
          <a:prstGeom prst="flowChartDocumen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Footer Placeholder 3">
            <a:extLst>
              <a:ext uri="{FF2B5EF4-FFF2-40B4-BE49-F238E27FC236}">
                <a16:creationId xmlns:a16="http://schemas.microsoft.com/office/drawing/2014/main" id="{BADF7149-D221-46FA-87D3-93EB0B2E4D91}"/>
              </a:ext>
            </a:extLst>
          </p:cNvPr>
          <p:cNvSpPr txBox="1">
            <a:spLocks/>
          </p:cNvSpPr>
          <p:nvPr userDrawn="1"/>
        </p:nvSpPr>
        <p:spPr>
          <a:xfrm>
            <a:off x="4121494" y="6506327"/>
            <a:ext cx="3949013" cy="35167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286000" algn="l" defTabSz="914400" rtl="0" eaLnBrk="1" latinLnBrk="0" hangingPunct="1">
              <a:defRPr sz="14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743200" algn="l" defTabSz="914400" rtl="0" eaLnBrk="1" latinLnBrk="0" hangingPunct="1">
              <a:defRPr sz="14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200400" algn="l" defTabSz="914400" rtl="0" eaLnBrk="1" latinLnBrk="0" hangingPunct="1">
              <a:defRPr sz="14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657600" algn="l" defTabSz="914400" rtl="0" eaLnBrk="1" latinLnBrk="0" hangingPunct="1">
              <a:defRPr sz="14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algn="ctr"/>
            <a:endParaRPr lang="en-US" sz="1067">
              <a:solidFill>
                <a:schemeClr val="tx1"/>
              </a:solidFill>
              <a:latin typeface="TT Norms Regular" panose="02000503030000020003" pitchFamily="50" charset="0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0346801-BB84-4BDC-9D24-60FED8EFE9F6}"/>
              </a:ext>
            </a:extLst>
          </p:cNvPr>
          <p:cNvCxnSpPr>
            <a:cxnSpLocks/>
          </p:cNvCxnSpPr>
          <p:nvPr userDrawn="1"/>
        </p:nvCxnSpPr>
        <p:spPr>
          <a:xfrm>
            <a:off x="-20961" y="2788689"/>
            <a:ext cx="7924800" cy="0"/>
          </a:xfrm>
          <a:prstGeom prst="line">
            <a:avLst/>
          </a:prstGeom>
          <a:ln w="57150">
            <a:solidFill>
              <a:srgbClr val="29A6D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E079D14-ED2F-C139-E5AA-6B625E444A8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1287" y="947835"/>
            <a:ext cx="8107509" cy="17910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5000" kern="1200" dirty="0" smtClean="0">
                <a:solidFill>
                  <a:srgbClr val="5F7584"/>
                </a:solidFill>
                <a:latin typeface="TT Norms Regular" panose="02000503030000020003" pitchFamily="50" charset="0"/>
                <a:ea typeface="Verdana" panose="020B0604030504040204" pitchFamily="34" charset="0"/>
                <a:cs typeface="HelveticaNeue LT 45 Light"/>
              </a:defRPr>
            </a:lvl1pPr>
            <a:lvl2pPr>
              <a:defRPr lang="en-US" sz="5000" kern="1200" dirty="0" smtClean="0">
                <a:solidFill>
                  <a:srgbClr val="5F7584"/>
                </a:solidFill>
                <a:latin typeface="TT Norms Regular" panose="02000503030000020003" pitchFamily="50" charset="0"/>
                <a:ea typeface="Verdana" panose="020B0604030504040204" pitchFamily="34" charset="0"/>
                <a:cs typeface="HelveticaNeue LT 45 Light"/>
              </a:defRPr>
            </a:lvl2pPr>
            <a:lvl3pPr>
              <a:defRPr lang="en-US" sz="5000" kern="1200" dirty="0" smtClean="0">
                <a:solidFill>
                  <a:srgbClr val="5F7584"/>
                </a:solidFill>
                <a:latin typeface="TT Norms Regular" panose="02000503030000020003" pitchFamily="50" charset="0"/>
                <a:ea typeface="Verdana" panose="020B0604030504040204" pitchFamily="34" charset="0"/>
                <a:cs typeface="HelveticaNeue LT 45 Light"/>
              </a:defRPr>
            </a:lvl3pPr>
            <a:lvl4pPr>
              <a:defRPr lang="en-US" sz="5000" kern="1200" dirty="0" smtClean="0">
                <a:solidFill>
                  <a:srgbClr val="5F7584"/>
                </a:solidFill>
                <a:latin typeface="TT Norms Regular" panose="02000503030000020003" pitchFamily="50" charset="0"/>
                <a:ea typeface="Verdana" panose="020B0604030504040204" pitchFamily="34" charset="0"/>
                <a:cs typeface="HelveticaNeue LT 45 Light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5EFD362-A930-7B11-1D41-9D0B4B14CB9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6282" y="2909118"/>
            <a:ext cx="8107509" cy="584580"/>
          </a:xfrm>
          <a:prstGeom prst="rect">
            <a:avLst/>
          </a:prstGeom>
        </p:spPr>
        <p:txBody>
          <a:bodyPr/>
          <a:lstStyle>
            <a:lvl1pPr marL="0" indent="0" algn="l" defTabSz="685702" rtl="0" eaLnBrk="1" latinLnBrk="0" hangingPunct="1">
              <a:buNone/>
              <a:defRPr lang="en-US" sz="2800" b="1" kern="1200" dirty="0" smtClean="0">
                <a:solidFill>
                  <a:srgbClr val="5F7584"/>
                </a:solidFill>
                <a:latin typeface="Arkhip" pitchFamily="2" charset="-52"/>
                <a:ea typeface="Verdana" panose="020B0604030504040204" pitchFamily="34" charset="0"/>
                <a:cs typeface="HelveticaNeue LT 45 Light"/>
              </a:defRPr>
            </a:lvl1pPr>
            <a:lvl2pPr>
              <a:defRPr lang="en-US" sz="5000" kern="1200" dirty="0" smtClean="0">
                <a:solidFill>
                  <a:srgbClr val="5F7584"/>
                </a:solidFill>
                <a:latin typeface="TT Norms Regular" panose="02000503030000020003" pitchFamily="50" charset="0"/>
                <a:ea typeface="Verdana" panose="020B0604030504040204" pitchFamily="34" charset="0"/>
                <a:cs typeface="HelveticaNeue LT 45 Light"/>
              </a:defRPr>
            </a:lvl2pPr>
            <a:lvl3pPr>
              <a:defRPr lang="en-US" sz="5000" kern="1200" dirty="0" smtClean="0">
                <a:solidFill>
                  <a:srgbClr val="5F7584"/>
                </a:solidFill>
                <a:latin typeface="TT Norms Regular" panose="02000503030000020003" pitchFamily="50" charset="0"/>
                <a:ea typeface="Verdana" panose="020B0604030504040204" pitchFamily="34" charset="0"/>
                <a:cs typeface="HelveticaNeue LT 45 Light"/>
              </a:defRPr>
            </a:lvl3pPr>
            <a:lvl4pPr>
              <a:defRPr lang="en-US" sz="5000" kern="1200" dirty="0" smtClean="0">
                <a:solidFill>
                  <a:srgbClr val="5F7584"/>
                </a:solidFill>
                <a:latin typeface="TT Norms Regular" panose="02000503030000020003" pitchFamily="50" charset="0"/>
                <a:ea typeface="Verdana" panose="020B0604030504040204" pitchFamily="34" charset="0"/>
                <a:cs typeface="HelveticaNeue LT 45 Light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019D34AE-8358-F572-5C0D-52A03C14C8C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61286" y="4147875"/>
            <a:ext cx="8107509" cy="1791068"/>
          </a:xfrm>
          <a:prstGeom prst="rect">
            <a:avLst/>
          </a:prstGeom>
        </p:spPr>
        <p:txBody>
          <a:bodyPr/>
          <a:lstStyle>
            <a:lvl1pPr marL="0" indent="0" algn="l" defTabSz="685702" rtl="0" eaLnBrk="1" latinLnBrk="0" hangingPunct="1">
              <a:buNone/>
              <a:defRPr lang="en-US" sz="1800" kern="1200" dirty="0" smtClean="0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cs typeface="HelveticaNeue LT 45 Light"/>
              </a:defRPr>
            </a:lvl1pPr>
            <a:lvl2pPr>
              <a:defRPr lang="en-US" sz="5000" kern="1200" dirty="0" smtClean="0">
                <a:solidFill>
                  <a:srgbClr val="5F7584"/>
                </a:solidFill>
                <a:latin typeface="TT Norms Regular" panose="02000503030000020003" pitchFamily="50" charset="0"/>
                <a:ea typeface="Verdana" panose="020B0604030504040204" pitchFamily="34" charset="0"/>
                <a:cs typeface="HelveticaNeue LT 45 Light"/>
              </a:defRPr>
            </a:lvl2pPr>
            <a:lvl3pPr>
              <a:defRPr lang="en-US" sz="5000" kern="1200" dirty="0" smtClean="0">
                <a:solidFill>
                  <a:srgbClr val="5F7584"/>
                </a:solidFill>
                <a:latin typeface="TT Norms Regular" panose="02000503030000020003" pitchFamily="50" charset="0"/>
                <a:ea typeface="Verdana" panose="020B0604030504040204" pitchFamily="34" charset="0"/>
                <a:cs typeface="HelveticaNeue LT 45 Light"/>
              </a:defRPr>
            </a:lvl3pPr>
            <a:lvl4pPr>
              <a:defRPr lang="en-US" sz="5000" kern="1200" dirty="0" smtClean="0">
                <a:solidFill>
                  <a:srgbClr val="5F7584"/>
                </a:solidFill>
                <a:latin typeface="TT Norms Regular" panose="02000503030000020003" pitchFamily="50" charset="0"/>
                <a:ea typeface="Verdana" panose="020B0604030504040204" pitchFamily="34" charset="0"/>
                <a:cs typeface="HelveticaNeue LT 45 Light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5" name="Picture 14" descr="Logo&#10;&#10;Description automatically generated with medium confidence">
            <a:extLst>
              <a:ext uri="{FF2B5EF4-FFF2-40B4-BE49-F238E27FC236}">
                <a16:creationId xmlns:a16="http://schemas.microsoft.com/office/drawing/2014/main" id="{CA71561E-8BD1-8202-332D-83C67F8709F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8979" y="5257800"/>
            <a:ext cx="4845679" cy="18295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48834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1F693C1-2621-FEF5-FECD-ED1927C5D7D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1878" y="1161930"/>
            <a:ext cx="6464581" cy="901700"/>
          </a:xfrm>
          <a:prstGeom prst="rect">
            <a:avLst/>
          </a:prstGeom>
        </p:spPr>
        <p:txBody>
          <a:bodyPr/>
          <a:lstStyle>
            <a:lvl1pPr>
              <a:defRPr lang="en-US" sz="1600" kern="1200" dirty="0" smtClean="0">
                <a:solidFill>
                  <a:srgbClr val="5F748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lang="en-US" sz="1600" kern="1200" dirty="0" smtClean="0">
                <a:solidFill>
                  <a:srgbClr val="5F748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lang="en-US" sz="1600" kern="1200" dirty="0" smtClean="0">
                <a:solidFill>
                  <a:srgbClr val="5F748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endParaRPr lang="en-US"/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3DAA3306-6D0E-420E-8425-14C03360484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4997451"/>
            <a:ext cx="12192000" cy="184150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6DE1CE36-B318-194D-529C-49463F37D8A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5127" t="39764" r="15466" b="39423"/>
          <a:stretch/>
        </p:blipFill>
        <p:spPr>
          <a:xfrm>
            <a:off x="9559134" y="6391965"/>
            <a:ext cx="2340000" cy="394286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AC5E7B35-DBBA-3A6A-7528-0B1634B56446}"/>
              </a:ext>
            </a:extLst>
          </p:cNvPr>
          <p:cNvSpPr txBox="1"/>
          <p:nvPr userDrawn="1"/>
        </p:nvSpPr>
        <p:spPr>
          <a:xfrm>
            <a:off x="0" y="6529706"/>
            <a:ext cx="557523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4209414A-CB4E-483F-A45E-F68A044080F5}" type="slidenum">
              <a:rPr lang="en-AU" sz="1067" smtClean="0">
                <a:solidFill>
                  <a:schemeClr val="bg1"/>
                </a:solidFill>
                <a:latin typeface="TT Norms Regular" panose="02000503030000020003" pitchFamily="50" charset="0"/>
              </a:rPr>
              <a:t>‹#›</a:t>
            </a:fld>
            <a:endParaRPr lang="en-AU" sz="1067">
              <a:solidFill>
                <a:schemeClr val="bg1"/>
              </a:solidFill>
              <a:latin typeface="TT Norms Regular" panose="02000503030000020003" pitchFamily="50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758622A-3A57-9378-5959-A4271638E856}"/>
              </a:ext>
            </a:extLst>
          </p:cNvPr>
          <p:cNvSpPr txBox="1"/>
          <p:nvPr userDrawn="1"/>
        </p:nvSpPr>
        <p:spPr>
          <a:xfrm>
            <a:off x="4728713" y="6584727"/>
            <a:ext cx="273457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>
                <a:solidFill>
                  <a:schemeClr val="bg1"/>
                </a:solidFill>
              </a:rPr>
              <a:t>GRADIANT CONFIDENTIAL</a:t>
            </a:r>
            <a:endParaRPr lang="en-SG" sz="1400">
              <a:solidFill>
                <a:schemeClr val="bg1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75A24D3-F17D-8E69-E9F1-29CA9FBD398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383052" y="174979"/>
            <a:ext cx="7425893" cy="386626"/>
          </a:xfrm>
          <a:prstGeom prst="rect">
            <a:avLst/>
          </a:prstGeom>
        </p:spPr>
        <p:txBody>
          <a:bodyPr/>
          <a:lstStyle>
            <a:lvl1pPr marL="0" indent="0" algn="ctr" defTabSz="1219170" rtl="0" eaLnBrk="0" fontAlgn="base" latinLnBrk="0" hangingPunct="0">
              <a:spcBef>
                <a:spcPct val="0"/>
              </a:spcBef>
              <a:spcAft>
                <a:spcPct val="0"/>
              </a:spcAft>
              <a:buNone/>
              <a:defRPr lang="en-US" sz="2000" b="1" kern="1200" dirty="0" smtClean="0">
                <a:solidFill>
                  <a:srgbClr val="29A6DD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0547671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1">
            <a:extLst>
              <a:ext uri="{FF2B5EF4-FFF2-40B4-BE49-F238E27FC236}">
                <a16:creationId xmlns:a16="http://schemas.microsoft.com/office/drawing/2014/main" id="{1295390D-0355-B5D4-76DA-509A79B4511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1878" y="1161930"/>
            <a:ext cx="6464581" cy="901700"/>
          </a:xfrm>
          <a:prstGeom prst="rect">
            <a:avLst/>
          </a:prstGeom>
        </p:spPr>
        <p:txBody>
          <a:bodyPr/>
          <a:lstStyle>
            <a:lvl1pPr>
              <a:defRPr lang="en-US" sz="1600" kern="1200" dirty="0" smtClean="0">
                <a:solidFill>
                  <a:srgbClr val="5F748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lang="en-US" sz="1600" kern="1200" dirty="0" smtClean="0">
                <a:solidFill>
                  <a:srgbClr val="5F748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lang="en-US" sz="1600" kern="1200" dirty="0" smtClean="0">
                <a:solidFill>
                  <a:srgbClr val="5F748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endParaRPr lang="en-US"/>
          </a:p>
        </p:txBody>
      </p:sp>
      <p:sp>
        <p:nvSpPr>
          <p:cNvPr id="3" name="Text Placeholder 14">
            <a:extLst>
              <a:ext uri="{FF2B5EF4-FFF2-40B4-BE49-F238E27FC236}">
                <a16:creationId xmlns:a16="http://schemas.microsoft.com/office/drawing/2014/main" id="{45CF82CB-74AB-B812-EA9E-83B8ED74BF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1492" y="455287"/>
            <a:ext cx="7425893" cy="386626"/>
          </a:xfrm>
          <a:prstGeom prst="rect">
            <a:avLst/>
          </a:prstGeom>
        </p:spPr>
        <p:txBody>
          <a:bodyPr/>
          <a:lstStyle>
            <a:lvl1pPr marL="0" indent="0" algn="l" defTabSz="1219170" rtl="0" eaLnBrk="0" fontAlgn="base" latinLnBrk="0" hangingPunct="0">
              <a:spcBef>
                <a:spcPct val="0"/>
              </a:spcBef>
              <a:spcAft>
                <a:spcPct val="0"/>
              </a:spcAft>
              <a:buNone/>
              <a:defRPr lang="en-US" sz="2000" b="1" kern="1200" dirty="0" smtClean="0">
                <a:solidFill>
                  <a:srgbClr val="29A6DD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E1EA758B-C31C-4256-8457-9A3F5F4092F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-10983"/>
            <a:ext cx="12192000" cy="1366537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407655A-D135-471A-A499-9FC5A9DBFFA0}"/>
              </a:ext>
            </a:extLst>
          </p:cNvPr>
          <p:cNvSpPr txBox="1"/>
          <p:nvPr userDrawn="1"/>
        </p:nvSpPr>
        <p:spPr>
          <a:xfrm>
            <a:off x="0" y="6529706"/>
            <a:ext cx="557523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4209414A-CB4E-483F-A45E-F68A044080F5}" type="slidenum">
              <a:rPr lang="en-AU" sz="1067" smtClean="0">
                <a:solidFill>
                  <a:srgbClr val="5F7584"/>
                </a:solidFill>
                <a:latin typeface="TT Norms Regular" panose="02000503030000020003" pitchFamily="50" charset="0"/>
              </a:rPr>
              <a:t>‹#›</a:t>
            </a:fld>
            <a:endParaRPr lang="en-AU" sz="1067">
              <a:solidFill>
                <a:srgbClr val="5F7584"/>
              </a:solidFill>
              <a:latin typeface="TT Norms Regular" panose="02000503030000020003" pitchFamily="50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3CB6EE1-3A14-75E9-D7EF-FEEF46173ED1}"/>
              </a:ext>
            </a:extLst>
          </p:cNvPr>
          <p:cNvSpPr txBox="1"/>
          <p:nvPr userDrawn="1"/>
        </p:nvSpPr>
        <p:spPr>
          <a:xfrm>
            <a:off x="4728713" y="6584727"/>
            <a:ext cx="273457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/>
              <a:t>GRADIANT CONFIDENTIAL</a:t>
            </a:r>
            <a:endParaRPr lang="en-SG" sz="14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2BCD724-C77E-DE6E-A443-6AEF0235CDB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5127" t="39764" r="15466" b="39423"/>
          <a:stretch/>
        </p:blipFill>
        <p:spPr>
          <a:xfrm>
            <a:off x="9559134" y="129205"/>
            <a:ext cx="2340000" cy="394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625738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1CE2C492-BCC2-43DB-893D-6D0E5F2A3DB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9A6DD"/>
          </a:solidFill>
          <a:ln>
            <a:solidFill>
              <a:srgbClr val="29A6D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5" name="Picture 4" descr="Logo, company name&#10;&#10;Description automatically generated">
            <a:extLst>
              <a:ext uri="{FF2B5EF4-FFF2-40B4-BE49-F238E27FC236}">
                <a16:creationId xmlns:a16="http://schemas.microsoft.com/office/drawing/2014/main" id="{C2CF5B82-2913-4F50-8A2C-CA2AECF41B5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7521" y="-1109133"/>
            <a:ext cx="1028949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16316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Content slide - header only">
    <p:bg>
      <p:bgPr>
        <a:solidFill>
          <a:schemeClr val="lt1"/>
        </a:solidFill>
        <a:effectLst/>
      </p:bgPr>
    </p:bg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8" name="Google Shape;98;p9"/>
          <p:cNvGrpSpPr/>
          <p:nvPr/>
        </p:nvGrpSpPr>
        <p:grpSpPr>
          <a:xfrm>
            <a:off x="-418254" y="-435466"/>
            <a:ext cx="10014644" cy="2182673"/>
            <a:chOff x="-313691" y="-18375"/>
            <a:chExt cx="7510983" cy="1637005"/>
          </a:xfrm>
        </p:grpSpPr>
        <p:sp>
          <p:nvSpPr>
            <p:cNvPr id="99" name="Google Shape;99;p9"/>
            <p:cNvSpPr/>
            <p:nvPr/>
          </p:nvSpPr>
          <p:spPr>
            <a:xfrm>
              <a:off x="256376" y="499825"/>
              <a:ext cx="6692400" cy="804900"/>
            </a:xfrm>
            <a:prstGeom prst="parallelogram">
              <a:avLst>
                <a:gd name="adj" fmla="val 54997"/>
              </a:avLst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0" name="Google Shape;100;p9"/>
            <p:cNvSpPr/>
            <p:nvPr/>
          </p:nvSpPr>
          <p:spPr>
            <a:xfrm>
              <a:off x="-313691" y="813730"/>
              <a:ext cx="754800" cy="804900"/>
            </a:xfrm>
            <a:prstGeom prst="parallelogram">
              <a:avLst>
                <a:gd name="adj" fmla="val 59001"/>
              </a:avLst>
            </a:prstGeom>
            <a:gradFill>
              <a:gsLst>
                <a:gs pos="0">
                  <a:schemeClr val="accent2"/>
                </a:gs>
                <a:gs pos="100000">
                  <a:schemeClr val="accent4"/>
                </a:gs>
              </a:gsLst>
              <a:lin ang="5400012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1" name="Google Shape;101;p9"/>
            <p:cNvSpPr/>
            <p:nvPr/>
          </p:nvSpPr>
          <p:spPr>
            <a:xfrm>
              <a:off x="6442492" y="309450"/>
              <a:ext cx="754800" cy="804900"/>
            </a:xfrm>
            <a:prstGeom prst="parallelogram">
              <a:avLst>
                <a:gd name="adj" fmla="val 59001"/>
              </a:avLst>
            </a:prstGeom>
            <a:gradFill>
              <a:gsLst>
                <a:gs pos="0">
                  <a:schemeClr val="accent1"/>
                </a:gs>
                <a:gs pos="100000">
                  <a:srgbClr val="02C1D3">
                    <a:alpha val="33725"/>
                  </a:srgbClr>
                </a:gs>
              </a:gsLst>
              <a:lin ang="5400012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2" name="Google Shape;102;p9"/>
            <p:cNvSpPr/>
            <p:nvPr/>
          </p:nvSpPr>
          <p:spPr>
            <a:xfrm>
              <a:off x="53899" y="237925"/>
              <a:ext cx="1000200" cy="1066800"/>
            </a:xfrm>
            <a:prstGeom prst="parallelogram">
              <a:avLst>
                <a:gd name="adj" fmla="val 59001"/>
              </a:avLst>
            </a:prstGeom>
            <a:gradFill>
              <a:gsLst>
                <a:gs pos="0">
                  <a:schemeClr val="accent1"/>
                </a:gs>
                <a:gs pos="100000">
                  <a:srgbClr val="02C1D3">
                    <a:alpha val="33725"/>
                  </a:srgbClr>
                </a:gs>
              </a:gsLst>
              <a:lin ang="5400012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3" name="Google Shape;103;p9"/>
            <p:cNvSpPr/>
            <p:nvPr/>
          </p:nvSpPr>
          <p:spPr>
            <a:xfrm>
              <a:off x="304107" y="-18375"/>
              <a:ext cx="420900" cy="449100"/>
            </a:xfrm>
            <a:prstGeom prst="parallelogram">
              <a:avLst>
                <a:gd name="adj" fmla="val 59001"/>
              </a:avLst>
            </a:prstGeom>
            <a:gradFill>
              <a:gsLst>
                <a:gs pos="0">
                  <a:schemeClr val="accent1"/>
                </a:gs>
                <a:gs pos="100000">
                  <a:srgbClr val="02C1D3">
                    <a:alpha val="33725"/>
                  </a:srgbClr>
                </a:gs>
              </a:gsLst>
              <a:lin ang="5400012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4" name="Google Shape;104;p9"/>
            <p:cNvSpPr/>
            <p:nvPr/>
          </p:nvSpPr>
          <p:spPr>
            <a:xfrm>
              <a:off x="6589606" y="1038628"/>
              <a:ext cx="249600" cy="266100"/>
            </a:xfrm>
            <a:prstGeom prst="parallelogram">
              <a:avLst>
                <a:gd name="adj" fmla="val 59001"/>
              </a:avLst>
            </a:prstGeom>
            <a:gradFill>
              <a:gsLst>
                <a:gs pos="0">
                  <a:schemeClr val="accent2"/>
                </a:gs>
                <a:gs pos="100000">
                  <a:schemeClr val="accent4"/>
                </a:gs>
              </a:gsLst>
              <a:lin ang="5400012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sp>
        <p:nvSpPr>
          <p:cNvPr id="108" name="Google Shape;108;p9"/>
          <p:cNvSpPr txBox="1">
            <a:spLocks noGrp="1"/>
          </p:cNvSpPr>
          <p:nvPr>
            <p:ph type="title"/>
          </p:nvPr>
        </p:nvSpPr>
        <p:spPr>
          <a:xfrm>
            <a:off x="1229435" y="240555"/>
            <a:ext cx="8035600" cy="1084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None/>
              <a:defRPr sz="3600">
                <a:latin typeface="Arial Nova Cond" panose="020B050602020202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0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0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0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0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0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0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0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000"/>
              <a:buNone/>
              <a:defRPr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109" name="Google Shape;109;p9"/>
          <p:cNvSpPr txBox="1">
            <a:spLocks noGrp="1"/>
          </p:cNvSpPr>
          <p:nvPr>
            <p:ph type="sldNum" idx="12"/>
          </p:nvPr>
        </p:nvSpPr>
        <p:spPr>
          <a:xfrm>
            <a:off x="11410033" y="0"/>
            <a:ext cx="578800" cy="5248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3247265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- Dark" preserve="1">
  <p:cSld name="Section Title">
    <p:bg>
      <p:bgPr>
        <a:gradFill>
          <a:gsLst>
            <a:gs pos="0">
              <a:schemeClr val="accent5"/>
            </a:gs>
            <a:gs pos="100000">
              <a:schemeClr val="accent4"/>
            </a:gs>
          </a:gsLst>
          <a:lin ang="5400012" scaled="0"/>
        </a:gradFill>
        <a:effectLst/>
      </p:bgPr>
    </p:bg>
    <p:spTree>
      <p:nvGrpSpPr>
        <p:cNvPr id="1" name="Shape 1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" name="Google Shape;143;p13"/>
          <p:cNvSpPr txBox="1">
            <a:spLocks noGrp="1"/>
          </p:cNvSpPr>
          <p:nvPr>
            <p:ph type="sldNum" idx="12"/>
          </p:nvPr>
        </p:nvSpPr>
        <p:spPr>
          <a:xfrm>
            <a:off x="11410033" y="0"/>
            <a:ext cx="578800" cy="5248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buNone/>
              <a:defRPr>
                <a:solidFill>
                  <a:schemeClr val="accent1"/>
                </a:solidFill>
              </a:defRPr>
            </a:lvl1pPr>
            <a:lvl2pPr lvl="1" rtl="0">
              <a:buNone/>
              <a:defRPr>
                <a:solidFill>
                  <a:schemeClr val="accent1"/>
                </a:solidFill>
              </a:defRPr>
            </a:lvl2pPr>
            <a:lvl3pPr lvl="2" rtl="0">
              <a:buNone/>
              <a:defRPr>
                <a:solidFill>
                  <a:schemeClr val="accent1"/>
                </a:solidFill>
              </a:defRPr>
            </a:lvl3pPr>
            <a:lvl4pPr lvl="3" rtl="0">
              <a:buNone/>
              <a:defRPr>
                <a:solidFill>
                  <a:schemeClr val="accent1"/>
                </a:solidFill>
              </a:defRPr>
            </a:lvl4pPr>
            <a:lvl5pPr lvl="4" rtl="0">
              <a:buNone/>
              <a:defRPr>
                <a:solidFill>
                  <a:schemeClr val="accent1"/>
                </a:solidFill>
              </a:defRPr>
            </a:lvl5pPr>
            <a:lvl6pPr lvl="5" rtl="0">
              <a:buNone/>
              <a:defRPr>
                <a:solidFill>
                  <a:schemeClr val="accent1"/>
                </a:solidFill>
              </a:defRPr>
            </a:lvl6pPr>
            <a:lvl7pPr lvl="6" rtl="0">
              <a:buNone/>
              <a:defRPr>
                <a:solidFill>
                  <a:schemeClr val="accent1"/>
                </a:solidFill>
              </a:defRPr>
            </a:lvl7pPr>
            <a:lvl8pPr lvl="7" rtl="0">
              <a:buNone/>
              <a:defRPr>
                <a:solidFill>
                  <a:schemeClr val="accent1"/>
                </a:solidFill>
              </a:defRPr>
            </a:lvl8pPr>
            <a:lvl9pPr lvl="8" rtl="0">
              <a:buNone/>
              <a:defRPr>
                <a:solidFill>
                  <a:schemeClr val="accent1"/>
                </a:solidFill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  <p:grpSp>
        <p:nvGrpSpPr>
          <p:cNvPr id="144" name="Google Shape;144;p13"/>
          <p:cNvGrpSpPr/>
          <p:nvPr/>
        </p:nvGrpSpPr>
        <p:grpSpPr>
          <a:xfrm>
            <a:off x="-418255" y="-24499"/>
            <a:ext cx="1823720" cy="2182673"/>
            <a:chOff x="-313691" y="-18375"/>
            <a:chExt cx="1367790" cy="1637005"/>
          </a:xfrm>
        </p:grpSpPr>
        <p:sp>
          <p:nvSpPr>
            <p:cNvPr id="145" name="Google Shape;145;p13"/>
            <p:cNvSpPr/>
            <p:nvPr/>
          </p:nvSpPr>
          <p:spPr>
            <a:xfrm>
              <a:off x="-313691" y="813730"/>
              <a:ext cx="754800" cy="804900"/>
            </a:xfrm>
            <a:prstGeom prst="parallelogram">
              <a:avLst>
                <a:gd name="adj" fmla="val 59001"/>
              </a:avLst>
            </a:prstGeom>
            <a:gradFill>
              <a:gsLst>
                <a:gs pos="0">
                  <a:schemeClr val="accent2"/>
                </a:gs>
                <a:gs pos="100000">
                  <a:schemeClr val="accent4"/>
                </a:gs>
              </a:gsLst>
              <a:lin ang="5400012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46" name="Google Shape;146;p13"/>
            <p:cNvSpPr/>
            <p:nvPr/>
          </p:nvSpPr>
          <p:spPr>
            <a:xfrm>
              <a:off x="53899" y="237925"/>
              <a:ext cx="1000200" cy="1066800"/>
            </a:xfrm>
            <a:prstGeom prst="parallelogram">
              <a:avLst>
                <a:gd name="adj" fmla="val 59001"/>
              </a:avLst>
            </a:prstGeom>
            <a:gradFill>
              <a:gsLst>
                <a:gs pos="0">
                  <a:schemeClr val="accent1"/>
                </a:gs>
                <a:gs pos="100000">
                  <a:srgbClr val="02C1D3">
                    <a:alpha val="33725"/>
                  </a:srgbClr>
                </a:gs>
              </a:gsLst>
              <a:lin ang="5400012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47" name="Google Shape;147;p13"/>
            <p:cNvSpPr/>
            <p:nvPr/>
          </p:nvSpPr>
          <p:spPr>
            <a:xfrm>
              <a:off x="304107" y="-18375"/>
              <a:ext cx="420900" cy="449100"/>
            </a:xfrm>
            <a:prstGeom prst="parallelogram">
              <a:avLst>
                <a:gd name="adj" fmla="val 59001"/>
              </a:avLst>
            </a:prstGeom>
            <a:gradFill>
              <a:gsLst>
                <a:gs pos="0">
                  <a:schemeClr val="accent1"/>
                </a:gs>
                <a:gs pos="100000">
                  <a:srgbClr val="02C1D3">
                    <a:alpha val="33725"/>
                  </a:srgbClr>
                </a:gs>
              </a:gsLst>
              <a:lin ang="5400012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sp>
        <p:nvSpPr>
          <p:cNvPr id="12" name="Title 1">
            <a:extLst>
              <a:ext uri="{FF2B5EF4-FFF2-40B4-BE49-F238E27FC236}">
                <a16:creationId xmlns:a16="http://schemas.microsoft.com/office/drawing/2014/main" id="{F053DA89-F68C-4A3F-BEF6-C460FAC2CE4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6076" y="3561030"/>
            <a:ext cx="7115176" cy="1419224"/>
          </a:xfrm>
        </p:spPr>
        <p:txBody>
          <a:bodyPr anchor="t"/>
          <a:lstStyle>
            <a:lvl1pPr algn="l">
              <a:defRPr sz="3600" b="1">
                <a:solidFill>
                  <a:schemeClr val="bg1"/>
                </a:solidFill>
                <a:latin typeface="Arial Nova Cond" panose="020B0506020202020204" pitchFamily="34" charset="0"/>
                <a:ea typeface="Adobe Myungjo Std M" panose="02020600000000000000"/>
              </a:defRPr>
            </a:lvl1pPr>
          </a:lstStyle>
          <a:p>
            <a:r>
              <a:rPr lang="en-US"/>
              <a:t>Click to edit Master title style</a:t>
            </a:r>
            <a:endParaRPr lang="en-SG" dirty="0"/>
          </a:p>
        </p:txBody>
      </p:sp>
    </p:spTree>
    <p:extLst>
      <p:ext uri="{BB962C8B-B14F-4D97-AF65-F5344CB8AC3E}">
        <p14:creationId xmlns:p14="http://schemas.microsoft.com/office/powerpoint/2010/main" val="6699307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bg>
      <p:bgPr>
        <a:solidFill>
          <a:srgbClr val="29A6D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Logo&#10;&#10;Description automatically generated with medium confidence">
            <a:extLst>
              <a:ext uri="{FF2B5EF4-FFF2-40B4-BE49-F238E27FC236}">
                <a16:creationId xmlns:a16="http://schemas.microsoft.com/office/drawing/2014/main" id="{480F25FA-B559-45A4-9882-3C2A6B674D8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8979" y="5257800"/>
            <a:ext cx="4845679" cy="1829547"/>
          </a:xfrm>
          <a:prstGeom prst="rect">
            <a:avLst/>
          </a:prstGeom>
        </p:spPr>
      </p:pic>
      <p:sp>
        <p:nvSpPr>
          <p:cNvPr id="13" name="Flowchart: Document 12">
            <a:extLst>
              <a:ext uri="{FF2B5EF4-FFF2-40B4-BE49-F238E27FC236}">
                <a16:creationId xmlns:a16="http://schemas.microsoft.com/office/drawing/2014/main" id="{0A7BFBB0-A12D-478E-A239-AA45D4DBDF12}"/>
              </a:ext>
            </a:extLst>
          </p:cNvPr>
          <p:cNvSpPr/>
          <p:nvPr userDrawn="1"/>
        </p:nvSpPr>
        <p:spPr>
          <a:xfrm>
            <a:off x="6285" y="373"/>
            <a:ext cx="12185716" cy="6172200"/>
          </a:xfrm>
          <a:prstGeom prst="flowChartDocument">
            <a:avLst/>
          </a:prstGeom>
          <a:solidFill>
            <a:srgbClr val="30C6BB"/>
          </a:solidFill>
          <a:ln>
            <a:solidFill>
              <a:srgbClr val="30C6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6" name="Flowchart: Document 15">
            <a:extLst>
              <a:ext uri="{FF2B5EF4-FFF2-40B4-BE49-F238E27FC236}">
                <a16:creationId xmlns:a16="http://schemas.microsoft.com/office/drawing/2014/main" id="{D746D584-F5AD-4BDF-A273-5A77DBE383A5}"/>
              </a:ext>
            </a:extLst>
          </p:cNvPr>
          <p:cNvSpPr/>
          <p:nvPr userDrawn="1"/>
        </p:nvSpPr>
        <p:spPr>
          <a:xfrm>
            <a:off x="0" y="0"/>
            <a:ext cx="12192000" cy="5943600"/>
          </a:xfrm>
          <a:prstGeom prst="flowChartDocumen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7" name="Picture 16" descr="A picture containing ray, fish&#10;&#10;Description automatically generated">
            <a:extLst>
              <a:ext uri="{FF2B5EF4-FFF2-40B4-BE49-F238E27FC236}">
                <a16:creationId xmlns:a16="http://schemas.microsoft.com/office/drawing/2014/main" id="{AD962BD7-C16D-4C51-86F2-2BDA29E84A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50000"/>
          </a:blip>
          <a:srcRect b="4863"/>
          <a:stretch/>
        </p:blipFill>
        <p:spPr>
          <a:xfrm>
            <a:off x="1" y="1"/>
            <a:ext cx="12185716" cy="472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04456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4FB179D6-22EB-4844-9B5B-DF34F9A8199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47611" y="1782447"/>
            <a:ext cx="4735297" cy="1307619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9961472" y="1"/>
            <a:ext cx="2230529" cy="162034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5" name="Rectangle 4"/>
          <p:cNvSpPr/>
          <p:nvPr userDrawn="1"/>
        </p:nvSpPr>
        <p:spPr>
          <a:xfrm>
            <a:off x="8912006" y="487453"/>
            <a:ext cx="2702681" cy="113289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1973161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D728906-3016-4D9A-8ECB-6807ABF8D68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 dirty="0"/>
          </a:p>
          <a:p>
            <a:fld id="{2FD824EB-FD9A-456A-ADCA-8E4DF56EFC79}" type="slidenum">
              <a:rPr lang="en-US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‹#›</a:t>
            </a:fld>
            <a:endParaRPr lang="en-US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1D0BAD0-07CA-48C2-8ACE-C9CF9674D021}"/>
              </a:ext>
            </a:extLst>
          </p:cNvPr>
          <p:cNvSpPr txBox="1"/>
          <p:nvPr userDrawn="1"/>
        </p:nvSpPr>
        <p:spPr>
          <a:xfrm>
            <a:off x="4188229" y="6648987"/>
            <a:ext cx="381554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>
                <a:solidFill>
                  <a:schemeClr val="accent2">
                    <a:lumMod val="75000"/>
                  </a:schemeClr>
                </a:solidFill>
                <a:latin typeface="Helvetica Neue Light"/>
                <a:cs typeface="Helvetica Neue Light"/>
              </a:rPr>
              <a:t>Gradiant Corporation –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344163596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4671484" y="6550026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000">
                <a:solidFill>
                  <a:srgbClr val="FFFFFF"/>
                </a:solidFill>
              </a:defRPr>
            </a:lvl1pPr>
          </a:lstStyle>
          <a:p>
            <a:fld id="{C22C1290-EE7B-D449-A6BE-946E27353757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53914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8737600" y="6184901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000">
                <a:solidFill>
                  <a:srgbClr val="FFFFFF"/>
                </a:solidFill>
              </a:defRPr>
            </a:lvl1pPr>
          </a:lstStyle>
          <a:p>
            <a:fld id="{C22C1290-EE7B-D449-A6BE-946E27353757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A63476D-05B9-496D-A3A7-14EA315DA95D}"/>
              </a:ext>
            </a:extLst>
          </p:cNvPr>
          <p:cNvSpPr txBox="1"/>
          <p:nvPr userDrawn="1"/>
        </p:nvSpPr>
        <p:spPr>
          <a:xfrm>
            <a:off x="4188229" y="6642637"/>
            <a:ext cx="381554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>
                <a:solidFill>
                  <a:schemeClr val="accent2">
                    <a:lumMod val="75000"/>
                  </a:schemeClr>
                </a:solidFill>
                <a:latin typeface="Helvetica Neue Light"/>
                <a:cs typeface="Helvetica Neue Light"/>
              </a:rPr>
              <a:t>Gradiant Corporation –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9562593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slideLayout" Target="../slideLayouts/slideLayout18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slideLayout" Target="../slideLayouts/slideLayout17.xml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5.png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0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1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slideLayout" Target="../slideLayouts/slideLayout19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24.xml"/><Relationship Id="rId4" Type="http://schemas.openxmlformats.org/officeDocument/2006/relationships/slideLayout" Target="../slideLayouts/slideLayout2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5"/>
            </a:gs>
            <a:gs pos="100000">
              <a:schemeClr val="accent4"/>
            </a:gs>
          </a:gsLst>
          <a:lin ang="5400012" scaled="0"/>
        </a:gra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1219433" y="661167"/>
            <a:ext cx="8035600" cy="10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2000"/>
              <a:buFont typeface="Merriweather"/>
              <a:buNone/>
              <a:defRPr sz="2000" b="1">
                <a:solidFill>
                  <a:schemeClr val="accent5"/>
                </a:solidFill>
                <a:latin typeface="Merriweather"/>
                <a:ea typeface="Merriweather"/>
                <a:cs typeface="Merriweather"/>
                <a:sym typeface="Merriweather"/>
              </a:defRPr>
            </a:lvl1pPr>
            <a:lvl2pPr lvl="1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2000"/>
              <a:buFont typeface="Merriweather"/>
              <a:buNone/>
              <a:defRPr sz="2000" b="1">
                <a:solidFill>
                  <a:schemeClr val="accent5"/>
                </a:solidFill>
                <a:latin typeface="Merriweather"/>
                <a:ea typeface="Merriweather"/>
                <a:cs typeface="Merriweather"/>
                <a:sym typeface="Merriweather"/>
              </a:defRPr>
            </a:lvl2pPr>
            <a:lvl3pPr lvl="2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2000"/>
              <a:buFont typeface="Merriweather"/>
              <a:buNone/>
              <a:defRPr sz="2000" b="1">
                <a:solidFill>
                  <a:schemeClr val="accent5"/>
                </a:solidFill>
                <a:latin typeface="Merriweather"/>
                <a:ea typeface="Merriweather"/>
                <a:cs typeface="Merriweather"/>
                <a:sym typeface="Merriweather"/>
              </a:defRPr>
            </a:lvl3pPr>
            <a:lvl4pPr lvl="3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2000"/>
              <a:buFont typeface="Merriweather"/>
              <a:buNone/>
              <a:defRPr sz="2000" b="1">
                <a:solidFill>
                  <a:schemeClr val="accent5"/>
                </a:solidFill>
                <a:latin typeface="Merriweather"/>
                <a:ea typeface="Merriweather"/>
                <a:cs typeface="Merriweather"/>
                <a:sym typeface="Merriweather"/>
              </a:defRPr>
            </a:lvl4pPr>
            <a:lvl5pPr lvl="4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2000"/>
              <a:buFont typeface="Merriweather"/>
              <a:buNone/>
              <a:defRPr sz="2000" b="1">
                <a:solidFill>
                  <a:schemeClr val="accent5"/>
                </a:solidFill>
                <a:latin typeface="Merriweather"/>
                <a:ea typeface="Merriweather"/>
                <a:cs typeface="Merriweather"/>
                <a:sym typeface="Merriweather"/>
              </a:defRPr>
            </a:lvl5pPr>
            <a:lvl6pPr lvl="5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2000"/>
              <a:buFont typeface="Merriweather"/>
              <a:buNone/>
              <a:defRPr sz="2000" b="1">
                <a:solidFill>
                  <a:schemeClr val="accent5"/>
                </a:solidFill>
                <a:latin typeface="Merriweather"/>
                <a:ea typeface="Merriweather"/>
                <a:cs typeface="Merriweather"/>
                <a:sym typeface="Merriweather"/>
              </a:defRPr>
            </a:lvl6pPr>
            <a:lvl7pPr lvl="6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2000"/>
              <a:buFont typeface="Merriweather"/>
              <a:buNone/>
              <a:defRPr sz="2000" b="1">
                <a:solidFill>
                  <a:schemeClr val="accent5"/>
                </a:solidFill>
                <a:latin typeface="Merriweather"/>
                <a:ea typeface="Merriweather"/>
                <a:cs typeface="Merriweather"/>
                <a:sym typeface="Merriweather"/>
              </a:defRPr>
            </a:lvl7pPr>
            <a:lvl8pPr lvl="7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2000"/>
              <a:buFont typeface="Merriweather"/>
              <a:buNone/>
              <a:defRPr sz="2000" b="1">
                <a:solidFill>
                  <a:schemeClr val="accent5"/>
                </a:solidFill>
                <a:latin typeface="Merriweather"/>
                <a:ea typeface="Merriweather"/>
                <a:cs typeface="Merriweather"/>
                <a:sym typeface="Merriweather"/>
              </a:defRPr>
            </a:lvl8pPr>
            <a:lvl9pPr lvl="8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2000"/>
              <a:buFont typeface="Merriweather"/>
              <a:buNone/>
              <a:defRPr sz="2000" b="1">
                <a:solidFill>
                  <a:schemeClr val="accent5"/>
                </a:solidFill>
                <a:latin typeface="Merriweather"/>
                <a:ea typeface="Merriweather"/>
                <a:cs typeface="Merriweather"/>
                <a:sym typeface="Merriweather"/>
              </a:defRPr>
            </a:lvl9pPr>
          </a:lstStyle>
          <a:p>
            <a:r>
              <a:rPr lang="en-US" sz="3600" dirty="0">
                <a:latin typeface="Arial Nova Cond" panose="020B0506020202020204" pitchFamily="34" charset="0"/>
              </a:rPr>
              <a:t>Text</a:t>
            </a:r>
            <a:endParaRPr dirty="0"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1219433" y="2112567"/>
            <a:ext cx="9332800" cy="39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81000" rtl="0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IBM Plex Sans Light"/>
              <a:buChar char="▰"/>
              <a:defRPr sz="2400">
                <a:solidFill>
                  <a:schemeClr val="dk1"/>
                </a:solidFill>
                <a:latin typeface="IBM Plex Sans Light"/>
                <a:ea typeface="IBM Plex Sans Light"/>
                <a:cs typeface="IBM Plex Sans Light"/>
                <a:sym typeface="IBM Plex Sans Light"/>
              </a:defRPr>
            </a:lvl1pPr>
            <a:lvl2pPr marL="914400" lvl="1" indent="-3810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400"/>
              <a:buFont typeface="IBM Plex Sans Light"/>
              <a:buChar char="╺"/>
              <a:defRPr sz="2400">
                <a:solidFill>
                  <a:schemeClr val="dk1"/>
                </a:solidFill>
                <a:latin typeface="IBM Plex Sans Light"/>
                <a:ea typeface="IBM Plex Sans Light"/>
                <a:cs typeface="IBM Plex Sans Light"/>
                <a:sym typeface="IBM Plex Sans Light"/>
              </a:defRPr>
            </a:lvl2pPr>
            <a:lvl3pPr marL="1371600" lvl="2" indent="-3810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2400"/>
              <a:buFont typeface="IBM Plex Sans Light"/>
              <a:buChar char="╺"/>
              <a:defRPr sz="2400">
                <a:solidFill>
                  <a:schemeClr val="dk1"/>
                </a:solidFill>
                <a:latin typeface="IBM Plex Sans Light"/>
                <a:ea typeface="IBM Plex Sans Light"/>
                <a:cs typeface="IBM Plex Sans Light"/>
                <a:sym typeface="IBM Plex Sans Light"/>
              </a:defRPr>
            </a:lvl3pPr>
            <a:lvl4pPr marL="1828800" lvl="3" indent="-3810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400"/>
              <a:buFont typeface="IBM Plex Sans Light"/>
              <a:buChar char="╺"/>
              <a:defRPr sz="2400">
                <a:solidFill>
                  <a:schemeClr val="dk1"/>
                </a:solidFill>
                <a:latin typeface="IBM Plex Sans Light"/>
                <a:ea typeface="IBM Plex Sans Light"/>
                <a:cs typeface="IBM Plex Sans Light"/>
                <a:sym typeface="IBM Plex Sans Light"/>
              </a:defRPr>
            </a:lvl4pPr>
            <a:lvl5pPr marL="2286000" lvl="4" indent="-3810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400"/>
              <a:buFont typeface="IBM Plex Sans Light"/>
              <a:buChar char="○"/>
              <a:defRPr sz="2400">
                <a:solidFill>
                  <a:schemeClr val="dk1"/>
                </a:solidFill>
                <a:latin typeface="IBM Plex Sans Light"/>
                <a:ea typeface="IBM Plex Sans Light"/>
                <a:cs typeface="IBM Plex Sans Light"/>
                <a:sym typeface="IBM Plex Sans Light"/>
              </a:defRPr>
            </a:lvl5pPr>
            <a:lvl6pPr marL="2743200" lvl="5" indent="-3810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400"/>
              <a:buFont typeface="IBM Plex Sans Light"/>
              <a:buChar char="■"/>
              <a:defRPr sz="2400">
                <a:solidFill>
                  <a:schemeClr val="dk1"/>
                </a:solidFill>
                <a:latin typeface="IBM Plex Sans Light"/>
                <a:ea typeface="IBM Plex Sans Light"/>
                <a:cs typeface="IBM Plex Sans Light"/>
                <a:sym typeface="IBM Plex Sans Light"/>
              </a:defRPr>
            </a:lvl6pPr>
            <a:lvl7pPr marL="3200400" lvl="6" indent="-3810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400"/>
              <a:buFont typeface="IBM Plex Sans Light"/>
              <a:buChar char="●"/>
              <a:defRPr sz="2400">
                <a:solidFill>
                  <a:schemeClr val="dk1"/>
                </a:solidFill>
                <a:latin typeface="IBM Plex Sans Light"/>
                <a:ea typeface="IBM Plex Sans Light"/>
                <a:cs typeface="IBM Plex Sans Light"/>
                <a:sym typeface="IBM Plex Sans Light"/>
              </a:defRPr>
            </a:lvl7pPr>
            <a:lvl8pPr marL="3657600" lvl="7" indent="-3810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400"/>
              <a:buFont typeface="IBM Plex Sans Light"/>
              <a:buChar char="○"/>
              <a:defRPr sz="2400">
                <a:solidFill>
                  <a:schemeClr val="dk1"/>
                </a:solidFill>
                <a:latin typeface="IBM Plex Sans Light"/>
                <a:ea typeface="IBM Plex Sans Light"/>
                <a:cs typeface="IBM Plex Sans Light"/>
                <a:sym typeface="IBM Plex Sans Light"/>
              </a:defRPr>
            </a:lvl8pPr>
            <a:lvl9pPr marL="4114800" lvl="8" indent="-3810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400"/>
              <a:buFont typeface="IBM Plex Sans Light"/>
              <a:buChar char="■"/>
              <a:defRPr sz="2400">
                <a:solidFill>
                  <a:schemeClr val="dk1"/>
                </a:solidFill>
                <a:latin typeface="IBM Plex Sans Light"/>
                <a:ea typeface="IBM Plex Sans Light"/>
                <a:cs typeface="IBM Plex Sans Light"/>
                <a:sym typeface="IBM Plex Sans Light"/>
              </a:defRPr>
            </a:lvl9pPr>
          </a:lstStyle>
          <a:p>
            <a:r>
              <a:rPr lang="en-US" dirty="0"/>
              <a:t>Text</a:t>
            </a:r>
            <a:endParaRPr dirty="0"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11410033" y="0"/>
            <a:ext cx="5788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r" rtl="0">
              <a:buNone/>
              <a:defRPr sz="1600">
                <a:solidFill>
                  <a:schemeClr val="dk2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1pPr>
            <a:lvl2pPr lvl="1" algn="r" rtl="0">
              <a:buNone/>
              <a:defRPr sz="1600">
                <a:solidFill>
                  <a:schemeClr val="dk2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2pPr>
            <a:lvl3pPr lvl="2" algn="r" rtl="0">
              <a:buNone/>
              <a:defRPr sz="1600">
                <a:solidFill>
                  <a:schemeClr val="dk2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3pPr>
            <a:lvl4pPr lvl="3" algn="r" rtl="0">
              <a:buNone/>
              <a:defRPr sz="1600">
                <a:solidFill>
                  <a:schemeClr val="dk2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4pPr>
            <a:lvl5pPr lvl="4" algn="r" rtl="0">
              <a:buNone/>
              <a:defRPr sz="1600">
                <a:solidFill>
                  <a:schemeClr val="dk2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5pPr>
            <a:lvl6pPr lvl="5" algn="r" rtl="0">
              <a:buNone/>
              <a:defRPr sz="1600">
                <a:solidFill>
                  <a:schemeClr val="dk2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6pPr>
            <a:lvl7pPr lvl="6" algn="r" rtl="0">
              <a:buNone/>
              <a:defRPr sz="1600">
                <a:solidFill>
                  <a:schemeClr val="dk2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7pPr>
            <a:lvl8pPr lvl="7" algn="r" rtl="0">
              <a:buNone/>
              <a:defRPr sz="1600">
                <a:solidFill>
                  <a:schemeClr val="dk2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8pPr>
            <a:lvl9pPr lvl="8" algn="r" rtl="0">
              <a:buNone/>
              <a:defRPr sz="1600">
                <a:solidFill>
                  <a:schemeClr val="dk2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  <p:pic>
        <p:nvPicPr>
          <p:cNvPr id="5" name="Picture 4" descr="A picture containing food&#10;&#10;Description automatically generated">
            <a:extLst>
              <a:ext uri="{FF2B5EF4-FFF2-40B4-BE49-F238E27FC236}">
                <a16:creationId xmlns:a16="http://schemas.microsoft.com/office/drawing/2014/main" id="{291C9BE4-EE74-4A5B-9B67-FBC9EA3295A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85871" y="5610758"/>
            <a:ext cx="3177927" cy="1842355"/>
          </a:xfrm>
          <a:prstGeom prst="rect">
            <a:avLst/>
          </a:prstGeom>
        </p:spPr>
      </p:pic>
      <p:pic>
        <p:nvPicPr>
          <p:cNvPr id="9" name="Picture 8" descr="A picture containing food&#10;&#10;Description automatically generated">
            <a:extLst>
              <a:ext uri="{FF2B5EF4-FFF2-40B4-BE49-F238E27FC236}">
                <a16:creationId xmlns:a16="http://schemas.microsoft.com/office/drawing/2014/main" id="{D048CD47-D048-45F3-8653-FB592CF5F538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85871" y="5610758"/>
            <a:ext cx="3177927" cy="1842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4490025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76" r:id="rId1"/>
    <p:sldLayoutId id="2147483690" r:id="rId2"/>
    <p:sldLayoutId id="2147483674" r:id="rId3"/>
    <p:sldLayoutId id="2147483689" r:id="rId4"/>
    <p:sldLayoutId id="2147483715" r:id="rId5"/>
  </p:sldLayoutIdLst>
  <p:transition>
    <p:fade thruBlk="1"/>
  </p:transition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3600" b="0" i="0" u="none" strike="noStrike" cap="none">
          <a:solidFill>
            <a:srgbClr val="000000"/>
          </a:solidFill>
          <a:latin typeface="Arial Nova Cond" panose="020B0506020202020204" pitchFamily="34" charset="0"/>
          <a:ea typeface="Arial Nova Cond" panose="020B0506020202020204" pitchFamily="34" charset="0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952903" y="279151"/>
            <a:ext cx="9629497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952902" y="1600201"/>
            <a:ext cx="9629497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3"/>
          <p:cNvSpPr>
            <a:spLocks noChangeArrowheads="1"/>
          </p:cNvSpPr>
          <p:nvPr/>
        </p:nvSpPr>
        <p:spPr bwMode="auto">
          <a:xfrm>
            <a:off x="-302824" y="5713164"/>
            <a:ext cx="12192000" cy="234950"/>
          </a:xfrm>
          <a:prstGeom prst="rect">
            <a:avLst/>
          </a:prstGeom>
          <a:solidFill>
            <a:srgbClr val="0066CC">
              <a:alpha val="0"/>
            </a:srgbClr>
          </a:solidFill>
          <a:ln>
            <a:noFill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 sz="1600" b="0" i="0" dirty="0">
              <a:solidFill>
                <a:schemeClr val="bg1">
                  <a:lumMod val="75000"/>
                </a:schemeClr>
              </a:solidFill>
              <a:latin typeface="Helvetica Neue Light"/>
              <a:cs typeface="Helvetica Neue Light"/>
            </a:endParaRPr>
          </a:p>
        </p:txBody>
      </p:sp>
      <p:sp>
        <p:nvSpPr>
          <p:cNvPr id="12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9088768" y="6207206"/>
            <a:ext cx="2493631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900" b="0" i="0">
                <a:solidFill>
                  <a:schemeClr val="bg1">
                    <a:lumMod val="75000"/>
                  </a:schemeClr>
                </a:solidFill>
                <a:latin typeface="Helvetica Neue Light"/>
                <a:cs typeface="Helvetica Neue Light"/>
              </a:defRPr>
            </a:lvl1pPr>
          </a:lstStyle>
          <a:p>
            <a:endParaRPr lang="en-US" dirty="0"/>
          </a:p>
          <a:p>
            <a:fld id="{2FD824EB-FD9A-456A-ADCA-8E4DF56EFC79}" type="slidenum">
              <a:rPr lang="en-US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‹#›</a:t>
            </a:fld>
            <a:endParaRPr lang="en-US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E1583DF-3DF3-8F51-5EF6-F8B431E00525}"/>
              </a:ext>
            </a:extLst>
          </p:cNvPr>
          <p:cNvPicPr>
            <a:picLocks noChangeAspect="1"/>
          </p:cNvPicPr>
          <p:nvPr userDrawn="1"/>
        </p:nvPicPr>
        <p:blipFill>
          <a:blip r:embed="rId16"/>
          <a:stretch>
            <a:fillRect/>
          </a:stretch>
        </p:blipFill>
        <p:spPr>
          <a:xfrm>
            <a:off x="0" y="71753"/>
            <a:ext cx="1952902" cy="1228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36179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700" r:id="rId7"/>
    <p:sldLayoutId id="2147483701" r:id="rId8"/>
    <p:sldLayoutId id="2147483702" r:id="rId9"/>
    <p:sldLayoutId id="2147483703" r:id="rId10"/>
    <p:sldLayoutId id="2147483704" r:id="rId11"/>
    <p:sldLayoutId id="2147483705" r:id="rId12"/>
    <p:sldLayoutId id="2147483706" r:id="rId13"/>
    <p:sldLayoutId id="2147483707" r:id="rId14"/>
  </p:sldLayoutIdLst>
  <p:hf hdr="0" ftr="0" dt="0"/>
  <p:txStyles>
    <p:titleStyle>
      <a:lvl1pPr algn="r" defTabSz="457200" rtl="0" eaLnBrk="1" latinLnBrk="0" hangingPunct="1">
        <a:spcBef>
          <a:spcPct val="0"/>
        </a:spcBef>
        <a:buNone/>
        <a:defRPr sz="3200" b="0" i="0" kern="1200">
          <a:solidFill>
            <a:srgbClr val="009999"/>
          </a:solidFill>
          <a:latin typeface="Helvetica Neue Thin"/>
          <a:ea typeface="+mj-ea"/>
          <a:cs typeface="Helvetica Neue Thin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400" b="0" i="0" kern="1200">
          <a:solidFill>
            <a:srgbClr val="05293B"/>
          </a:solidFill>
          <a:latin typeface="Helvetica Neue Light"/>
          <a:ea typeface="+mn-ea"/>
          <a:cs typeface="Helvetica Neue Light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000" b="0" i="0" kern="1200">
          <a:solidFill>
            <a:srgbClr val="05293B"/>
          </a:solidFill>
          <a:latin typeface="Helvetica Neue Light"/>
          <a:ea typeface="+mn-ea"/>
          <a:cs typeface="Helvetica Neue Light"/>
        </a:defRPr>
      </a:lvl2pPr>
      <a:lvl3pPr marL="1143000" indent="-228600" algn="l" defTabSz="457200" rtl="0" eaLnBrk="1" latinLnBrk="0" hangingPunct="1">
        <a:spcBef>
          <a:spcPct val="20000"/>
        </a:spcBef>
        <a:buFont typeface="Courier New"/>
        <a:buChar char="o"/>
        <a:defRPr sz="1800" b="0" i="0" kern="1200">
          <a:solidFill>
            <a:srgbClr val="05293B"/>
          </a:solidFill>
          <a:latin typeface="Helvetica Neue Light"/>
          <a:ea typeface="+mn-ea"/>
          <a:cs typeface="Helvetica Neue Light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b="0" i="0" kern="1200">
          <a:solidFill>
            <a:srgbClr val="05293B"/>
          </a:solidFill>
          <a:latin typeface="Helvetica Neue Light"/>
          <a:ea typeface="+mn-ea"/>
          <a:cs typeface="Helvetica Neue Light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•"/>
        <a:defRPr sz="1600" b="0" i="0" kern="1200">
          <a:solidFill>
            <a:srgbClr val="05293B"/>
          </a:solidFill>
          <a:latin typeface="Helvetica Neue Light"/>
          <a:ea typeface="+mn-ea"/>
          <a:cs typeface="Helvetica Neue Light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072461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2" r:id="rId3"/>
    <p:sldLayoutId id="2147483713" r:id="rId4"/>
    <p:sldLayoutId id="2147483714" r:id="rId5"/>
  </p:sldLayoutIdLst>
  <p:hf sldNum="0" hdr="0" dt="0"/>
  <p:txStyles>
    <p:titleStyle>
      <a:lvl1pPr algn="l" defTabSz="1218995" rtl="0" eaLnBrk="1" latinLnBrk="0" hangingPunct="1">
        <a:spcBef>
          <a:spcPct val="0"/>
        </a:spcBef>
        <a:buNone/>
        <a:defRPr sz="42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23" indent="-457123" algn="l" defTabSz="1218995" rtl="0" eaLnBrk="1" latinLnBrk="0" hangingPunct="1">
        <a:spcBef>
          <a:spcPct val="20000"/>
        </a:spcBef>
        <a:buFont typeface="Arial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990434" indent="-380936" algn="l" defTabSz="1218995" rtl="0" eaLnBrk="1" latinLnBrk="0" hangingPunct="1">
        <a:spcBef>
          <a:spcPct val="20000"/>
        </a:spcBef>
        <a:buFont typeface="Arial" pitchFamily="34" charset="0"/>
        <a:buChar char="–"/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1523745" indent="-304748" algn="l" defTabSz="1218995" rtl="0" eaLnBrk="1" latinLnBrk="0" hangingPunct="1">
        <a:spcBef>
          <a:spcPct val="20000"/>
        </a:spcBef>
        <a:buFont typeface="Arial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2133241" indent="-304748" algn="l" defTabSz="1218995" rtl="0" eaLnBrk="1" latinLnBrk="0" hangingPunct="1">
        <a:spcBef>
          <a:spcPct val="20000"/>
        </a:spcBef>
        <a:buFont typeface="Arial" pitchFamily="34" charset="0"/>
        <a:buChar char="–"/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2742739" indent="-304748" algn="l" defTabSz="1218995" rtl="0" eaLnBrk="1" latinLnBrk="0" hangingPunct="1">
        <a:spcBef>
          <a:spcPct val="20000"/>
        </a:spcBef>
        <a:buFont typeface="Arial" pitchFamily="34" charset="0"/>
        <a:buChar char="»"/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238" indent="-304748" algn="l" defTabSz="1218995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1736" indent="-304748" algn="l" defTabSz="1218995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234" indent="-304748" algn="l" defTabSz="1218995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0732" indent="-304748" algn="l" defTabSz="1218995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99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98" algn="l" defTabSz="121899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95" algn="l" defTabSz="121899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493" algn="l" defTabSz="121899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991" algn="l" defTabSz="121899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489" algn="l" defTabSz="121899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987" algn="l" defTabSz="121899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485" algn="l" defTabSz="121899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982" algn="l" defTabSz="121899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Layout" Target="../slideLayouts/slideLayout19.xml"/><Relationship Id="rId7" Type="http://schemas.openxmlformats.org/officeDocument/2006/relationships/image" Target="../media/image18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3.png"/><Relationship Id="rId5" Type="http://schemas.openxmlformats.org/officeDocument/2006/relationships/image" Target="../media/image42.png"/><Relationship Id="rId4" Type="http://schemas.openxmlformats.org/officeDocument/2006/relationships/image" Target="../media/image41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jpe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54.tmp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57.tmp"/><Relationship Id="rId4" Type="http://schemas.openxmlformats.org/officeDocument/2006/relationships/image" Target="../media/image56.jpeg"/></Relationships>
</file>

<file path=ppt/slides/_rels/slide3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58.emf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ＭＳ Ｐゴシック"/>
              <a:cs typeface="Arial"/>
              <a:sym typeface="Arial"/>
            </a:endParaRPr>
          </a:p>
        </p:txBody>
      </p:sp>
      <p:pic>
        <p:nvPicPr>
          <p:cNvPr id="12" name="Picture 7" descr="C:\Users\mengelhard2\Desktop\titlecropped2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" y="1744652"/>
            <a:ext cx="12192001" cy="3860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/>
        </p:nvSpPr>
        <p:spPr>
          <a:xfrm>
            <a:off x="431371" y="2069919"/>
            <a:ext cx="11617291" cy="2782300"/>
          </a:xfrm>
          <a:prstGeom prst="rect">
            <a:avLst/>
          </a:prstGeom>
        </p:spPr>
        <p:txBody>
          <a:bodyPr vert="horz" lIns="0" tIns="42039" rIns="84076" bIns="42039"/>
          <a:lstStyle/>
          <a:p>
            <a:pPr marL="0" marR="0" lvl="0" indent="0" algn="l" defTabSz="60953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SG" sz="2667" b="0" i="0" u="none" strike="noStrike" kern="1200" cap="none" spc="0" normalizeH="0" baseline="0" noProof="0" dirty="0">
                <a:ln>
                  <a:noFill/>
                </a:ln>
                <a:solidFill>
                  <a:srgbClr val="242852"/>
                </a:solidFill>
                <a:effectLst/>
                <a:uLnTx/>
                <a:uFillTx/>
                <a:latin typeface="Arial"/>
                <a:ea typeface="MS PGothic" pitchFamily="34" charset="-128"/>
                <a:cs typeface="Arial"/>
              </a:rPr>
              <a:t>Project: Micron Boise FAB ID1 Green Field Project</a:t>
            </a:r>
          </a:p>
          <a:p>
            <a:pPr marL="0" marR="0" lvl="0" indent="0" algn="l" defTabSz="60953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SG" sz="2667" b="0" i="0" u="none" strike="noStrike" kern="1200" cap="none" spc="0" normalizeH="0" baseline="0" noProof="0" dirty="0">
              <a:ln>
                <a:noFill/>
              </a:ln>
              <a:solidFill>
                <a:srgbClr val="242852"/>
              </a:solidFill>
              <a:effectLst/>
              <a:uLnTx/>
              <a:uFillTx/>
              <a:latin typeface="Arial"/>
              <a:ea typeface="MS PGothic" pitchFamily="34" charset="-128"/>
              <a:cs typeface="Arial"/>
            </a:endParaRPr>
          </a:p>
          <a:p>
            <a:pPr marL="0" marR="0" lvl="0" indent="0" algn="l" defTabSz="60953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SG" sz="2667" b="0" i="0" u="none" strike="noStrike" kern="1200" cap="none" spc="0" normalizeH="0" baseline="0" noProof="0" dirty="0">
                <a:ln>
                  <a:noFill/>
                </a:ln>
                <a:solidFill>
                  <a:srgbClr val="242852"/>
                </a:solidFill>
                <a:effectLst/>
                <a:uLnTx/>
                <a:uFillTx/>
                <a:latin typeface="Arial"/>
                <a:ea typeface="MS PGothic" pitchFamily="34" charset="-128"/>
                <a:cs typeface="Arial"/>
              </a:rPr>
              <a:t>ZLD Facility Integrator RFI</a:t>
            </a:r>
            <a:r>
              <a:rPr kumimoji="0" lang="en-US" sz="2667" b="0" i="0" u="none" strike="noStrike" kern="1200" cap="none" spc="0" normalizeH="0" baseline="0" noProof="0" dirty="0">
                <a:ln>
                  <a:noFill/>
                </a:ln>
                <a:solidFill>
                  <a:srgbClr val="242852"/>
                </a:solidFill>
                <a:effectLst/>
                <a:uLnTx/>
                <a:uFillTx/>
                <a:latin typeface="Arial"/>
                <a:ea typeface="MS PGothic" pitchFamily="34" charset="-128"/>
                <a:cs typeface="Arial"/>
              </a:rPr>
              <a:t> </a:t>
            </a:r>
          </a:p>
          <a:p>
            <a:pPr marL="0" marR="0" lvl="0" indent="0" algn="l" defTabSz="60953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242852"/>
              </a:solidFill>
              <a:effectLst/>
              <a:uLnTx/>
              <a:uFillTx/>
              <a:latin typeface="Arial"/>
              <a:ea typeface="MS PGothic" pitchFamily="34" charset="-128"/>
              <a:cs typeface="Arial"/>
            </a:endParaRPr>
          </a:p>
          <a:p>
            <a:pPr marL="0" marR="0" lvl="0" indent="0" algn="l" defTabSz="60953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242852"/>
              </a:solidFill>
              <a:effectLst/>
              <a:uLnTx/>
              <a:uFillTx/>
              <a:latin typeface="Arial"/>
              <a:ea typeface="MS PGothic" pitchFamily="34" charset="-128"/>
              <a:cs typeface="Arial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609FD4E-10BB-458C-BB45-0B715FB3F65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436790" y="48496"/>
            <a:ext cx="2611872" cy="9454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850210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F63A47-E976-6D55-CD30-FFCA14F048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erimental pictures: Jar Testing (FeCl3)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92927F2-B5BB-C124-DC32-63080CB2E5EE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" smtClean="0"/>
              <a:pPr/>
              <a:t>10</a:t>
            </a:fld>
            <a:endParaRPr lang="en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E7346F2-4731-B3DF-10CB-03BE15856FB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0809" y="1867564"/>
            <a:ext cx="2342153" cy="3122871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A9F13DA2-CE98-3D55-DEF1-B436BA272912}"/>
              </a:ext>
            </a:extLst>
          </p:cNvPr>
          <p:cNvSpPr txBox="1"/>
          <p:nvPr/>
        </p:nvSpPr>
        <p:spPr>
          <a:xfrm>
            <a:off x="763325" y="5142078"/>
            <a:ext cx="239963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tx2">
                    <a:lumMod val="10000"/>
                  </a:schemeClr>
                </a:solidFill>
              </a:rPr>
              <a:t>Feed Water adjusted to pH 7 by dosing HCl and NaOH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780BE21-996F-E466-DE7F-9EB63154DCD3}"/>
              </a:ext>
            </a:extLst>
          </p:cNvPr>
          <p:cNvSpPr txBox="1"/>
          <p:nvPr/>
        </p:nvSpPr>
        <p:spPr>
          <a:xfrm>
            <a:off x="3553819" y="5142078"/>
            <a:ext cx="239963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tx2">
                    <a:lumMod val="10000"/>
                  </a:schemeClr>
                </a:solidFill>
              </a:rPr>
              <a:t>FeCl3 was weighed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FBC49A64-83C9-6D12-53DE-EE3C2328DE6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6200000">
            <a:off x="3176606" y="2257358"/>
            <a:ext cx="3118359" cy="2338769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24A47D63-9BC6-929B-5AC1-794F60E012DC}"/>
              </a:ext>
            </a:extLst>
          </p:cNvPr>
          <p:cNvSpPr txBox="1"/>
          <p:nvPr/>
        </p:nvSpPr>
        <p:spPr>
          <a:xfrm>
            <a:off x="6339042" y="5121398"/>
            <a:ext cx="239963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tx2">
                    <a:lumMod val="10000"/>
                  </a:schemeClr>
                </a:solidFill>
              </a:rPr>
              <a:t>Sludge was left for settle for &gt;90min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F7447E7A-F9FF-1DF0-AB50-A21DFD10231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4538" r="8838" b="10156"/>
          <a:stretch/>
        </p:blipFill>
        <p:spPr>
          <a:xfrm>
            <a:off x="6339042" y="1869820"/>
            <a:ext cx="2254909" cy="3118359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6CC11164-20D0-5626-B8F3-F9F24F08C19A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8693" t="5032" r="6171" b="5157"/>
          <a:stretch/>
        </p:blipFill>
        <p:spPr>
          <a:xfrm>
            <a:off x="9231020" y="1869820"/>
            <a:ext cx="1970856" cy="3141052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1574ED7C-88C5-1CAA-E515-70D11A8193EF}"/>
              </a:ext>
            </a:extLst>
          </p:cNvPr>
          <p:cNvSpPr txBox="1"/>
          <p:nvPr/>
        </p:nvSpPr>
        <p:spPr>
          <a:xfrm>
            <a:off x="8813433" y="5142078"/>
            <a:ext cx="239963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tx2">
                    <a:lumMod val="10000"/>
                  </a:schemeClr>
                </a:solidFill>
              </a:rPr>
              <a:t>Supernatant was collected, filtered, and sent for analysis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BA3A4C48-E0E6-CB03-6379-DC8DCCC58463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51365"/>
          <a:stretch/>
        </p:blipFill>
        <p:spPr>
          <a:xfrm>
            <a:off x="8459087" y="1867563"/>
            <a:ext cx="1137472" cy="31183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04150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E9A0EA-E270-4F13-95AC-891526D65F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09239" y="251343"/>
            <a:ext cx="6633924" cy="1084000"/>
          </a:xfrm>
          <a:noFill/>
        </p:spPr>
        <p:txBody>
          <a:bodyPr/>
          <a:lstStyle/>
          <a:p>
            <a:r>
              <a:rPr lang="en-US" dirty="0"/>
              <a:t>SCE STAGE 1- Jar Testing Treated Water Analysis</a:t>
            </a:r>
            <a:endParaRPr lang="en-SG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495601B-DA81-411E-9277-B25FF36453C0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 smtClean="0">
                <a:ln>
                  <a:noFill/>
                </a:ln>
                <a:solidFill>
                  <a:srgbClr val="757C83"/>
                </a:solidFill>
                <a:effectLst/>
                <a:uLnTx/>
                <a:uFillTx/>
                <a:latin typeface="IBM Plex Sans"/>
                <a:sym typeface="IBM Plex San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" sz="1600" b="0" i="0" u="none" strike="noStrike" kern="1200" cap="none" spc="0" normalizeH="0" baseline="0" noProof="0">
              <a:ln>
                <a:noFill/>
              </a:ln>
              <a:solidFill>
                <a:srgbClr val="757C83"/>
              </a:solidFill>
              <a:effectLst/>
              <a:uLnTx/>
              <a:uFillTx/>
              <a:latin typeface="IBM Plex Sans"/>
              <a:sym typeface="IBM Plex Sans"/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FDA67B63-6EDC-470D-C9F2-F652B894C3F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391642"/>
              </p:ext>
            </p:extLst>
          </p:nvPr>
        </p:nvGraphicFramePr>
        <p:xfrm>
          <a:off x="1983037" y="1515770"/>
          <a:ext cx="7006728" cy="3705250"/>
        </p:xfrm>
        <a:graphic>
          <a:graphicData uri="http://schemas.openxmlformats.org/drawingml/2006/table">
            <a:tbl>
              <a:tblPr>
                <a:tableStyleId>{073A0DAA-6AF3-43AB-8588-CEC1D06C72B9}</a:tableStyleId>
              </a:tblPr>
              <a:tblGrid>
                <a:gridCol w="2347902">
                  <a:extLst>
                    <a:ext uri="{9D8B030D-6E8A-4147-A177-3AD203B41FA5}">
                      <a16:colId xmlns:a16="http://schemas.microsoft.com/office/drawing/2014/main" val="3777245760"/>
                    </a:ext>
                  </a:extLst>
                </a:gridCol>
                <a:gridCol w="1552942">
                  <a:extLst>
                    <a:ext uri="{9D8B030D-6E8A-4147-A177-3AD203B41FA5}">
                      <a16:colId xmlns:a16="http://schemas.microsoft.com/office/drawing/2014/main" val="2824401618"/>
                    </a:ext>
                  </a:extLst>
                </a:gridCol>
                <a:gridCol w="1552942">
                  <a:extLst>
                    <a:ext uri="{9D8B030D-6E8A-4147-A177-3AD203B41FA5}">
                      <a16:colId xmlns:a16="http://schemas.microsoft.com/office/drawing/2014/main" val="3477608327"/>
                    </a:ext>
                  </a:extLst>
                </a:gridCol>
                <a:gridCol w="1552942">
                  <a:extLst>
                    <a:ext uri="{9D8B030D-6E8A-4147-A177-3AD203B41FA5}">
                      <a16:colId xmlns:a16="http://schemas.microsoft.com/office/drawing/2014/main" val="851819759"/>
                    </a:ext>
                  </a:extLst>
                </a:gridCol>
              </a:tblGrid>
              <a:tr h="22222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800" u="none" strike="noStrike" dirty="0">
                          <a:effectLst/>
                        </a:rPr>
                        <a:t> </a:t>
                      </a:r>
                      <a:endParaRPr lang="en-GB" sz="1800" b="1" i="0" u="none" strike="noStrike" dirty="0">
                        <a:solidFill>
                          <a:srgbClr val="061E3A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631" marR="4631" marT="4631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800" u="none" strike="noStrike">
                          <a:effectLst/>
                        </a:rPr>
                        <a:t>Units</a:t>
                      </a:r>
                      <a:endParaRPr lang="en-GB" sz="1800" b="1" i="0" u="none" strike="noStrike">
                        <a:solidFill>
                          <a:srgbClr val="061E3A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631" marR="4631" marT="4631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800" u="sng" strike="noStrike">
                          <a:effectLst/>
                        </a:rPr>
                        <a:t>Feed</a:t>
                      </a:r>
                      <a:endParaRPr lang="en-GB" sz="1800" b="1" i="0" u="sng" strike="noStrike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631" marR="4631" marT="4631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800" u="sng" strike="noStrike">
                          <a:effectLst/>
                        </a:rPr>
                        <a:t>Jar</a:t>
                      </a:r>
                      <a:endParaRPr lang="en-GB" sz="1800" b="1" i="0" u="sng" strike="noStrike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631" marR="4631" marT="4631" marB="0" anchor="ctr"/>
                </a:tc>
                <a:extLst>
                  <a:ext uri="{0D108BD9-81ED-4DB2-BD59-A6C34878D82A}">
                    <a16:rowId xmlns:a16="http://schemas.microsoft.com/office/drawing/2014/main" val="3578843090"/>
                  </a:ext>
                </a:extLst>
              </a:tr>
              <a:tr h="222223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800" u="none" strike="noStrike" dirty="0">
                          <a:effectLst/>
                        </a:rPr>
                        <a:t>pH</a:t>
                      </a:r>
                      <a:endParaRPr lang="en-GB" sz="1800" b="0" i="0" u="none" strike="noStrike" dirty="0">
                        <a:solidFill>
                          <a:srgbClr val="061E3A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631" marR="4631" marT="4631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800" u="none" strike="noStrike">
                          <a:effectLst/>
                        </a:rPr>
                        <a:t>-</a:t>
                      </a:r>
                      <a:endParaRPr lang="en-GB" sz="1800" b="0" i="0" u="none" strike="noStrike">
                        <a:solidFill>
                          <a:srgbClr val="061E3A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631" marR="4631" marT="4631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800" b="0" i="0" u="none" strike="noStrike" dirty="0">
                          <a:solidFill>
                            <a:srgbClr val="061E3A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6.96</a:t>
                      </a:r>
                    </a:p>
                  </a:txBody>
                  <a:tcPr marL="4631" marR="4631" marT="4631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800" b="0" i="0" u="none" strike="noStrike" dirty="0">
                          <a:solidFill>
                            <a:srgbClr val="061E3A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8.45</a:t>
                      </a:r>
                    </a:p>
                  </a:txBody>
                  <a:tcPr marL="4631" marR="4631" marT="4631" marB="0" anchor="ctr"/>
                </a:tc>
                <a:extLst>
                  <a:ext uri="{0D108BD9-81ED-4DB2-BD59-A6C34878D82A}">
                    <a16:rowId xmlns:a16="http://schemas.microsoft.com/office/drawing/2014/main" val="1440010778"/>
                  </a:ext>
                </a:extLst>
              </a:tr>
              <a:tr h="222223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800" u="none" strike="noStrike">
                          <a:effectLst/>
                        </a:rPr>
                        <a:t>Fluoride as F </a:t>
                      </a:r>
                      <a:endParaRPr lang="en-GB" sz="1800" b="0" i="0" u="none" strike="noStrike">
                        <a:solidFill>
                          <a:srgbClr val="061E3A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631" marR="4631" marT="4631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800" u="none" strike="noStrike">
                          <a:effectLst/>
                        </a:rPr>
                        <a:t>ppm</a:t>
                      </a:r>
                      <a:endParaRPr lang="en-GB" sz="1800" b="0" i="0" u="none" strike="noStrike">
                        <a:solidFill>
                          <a:srgbClr val="061E3A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631" marR="4631" marT="4631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800" u="none" strike="noStrike" dirty="0">
                          <a:effectLst/>
                          <a:latin typeface="+mn-lt"/>
                        </a:rPr>
                        <a:t>4.73</a:t>
                      </a:r>
                      <a:endParaRPr lang="en-GB" sz="1800" b="0" i="0" u="none" strike="noStrike" dirty="0">
                        <a:solidFill>
                          <a:srgbClr val="061E3A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4631" marR="4631" marT="4631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800" u="none" strike="noStrike" dirty="0">
                          <a:effectLst/>
                          <a:latin typeface="+mn-lt"/>
                        </a:rPr>
                        <a:t>4.93</a:t>
                      </a:r>
                      <a:endParaRPr lang="en-GB" sz="1800" b="0" i="0" u="none" strike="noStrike" dirty="0">
                        <a:solidFill>
                          <a:srgbClr val="061E3A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4631" marR="4631" marT="4631" marB="0" anchor="ctr"/>
                </a:tc>
                <a:extLst>
                  <a:ext uri="{0D108BD9-81ED-4DB2-BD59-A6C34878D82A}">
                    <a16:rowId xmlns:a16="http://schemas.microsoft.com/office/drawing/2014/main" val="1461623050"/>
                  </a:ext>
                </a:extLst>
              </a:tr>
              <a:tr h="222223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800" u="none" strike="noStrike">
                          <a:effectLst/>
                        </a:rPr>
                        <a:t>Chloride as Cl</a:t>
                      </a:r>
                      <a:endParaRPr lang="en-GB" sz="1800" b="0" i="0" u="none" strike="noStrike">
                        <a:solidFill>
                          <a:srgbClr val="061E3A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631" marR="4631" marT="4631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800" u="none" strike="noStrike" dirty="0">
                          <a:effectLst/>
                        </a:rPr>
                        <a:t>ppm</a:t>
                      </a:r>
                      <a:endParaRPr lang="en-GB" sz="1800" b="0" i="0" u="none" strike="noStrike" dirty="0">
                        <a:solidFill>
                          <a:srgbClr val="061E3A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631" marR="4631" marT="4631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800" u="none" strike="noStrike" dirty="0">
                          <a:effectLst/>
                          <a:latin typeface="+mn-lt"/>
                        </a:rPr>
                        <a:t>369</a:t>
                      </a:r>
                      <a:endParaRPr lang="en-GB" sz="1800" b="0" i="0" u="none" strike="noStrike" dirty="0">
                        <a:solidFill>
                          <a:srgbClr val="061E3A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4631" marR="4631" marT="4631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800" u="none" strike="noStrike">
                          <a:effectLst/>
                          <a:latin typeface="+mn-lt"/>
                        </a:rPr>
                        <a:t>837</a:t>
                      </a:r>
                      <a:endParaRPr lang="en-GB" sz="1800" b="0" i="0" u="none" strike="noStrike">
                        <a:solidFill>
                          <a:srgbClr val="061E3A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4631" marR="4631" marT="4631" marB="0" anchor="ctr"/>
                </a:tc>
                <a:extLst>
                  <a:ext uri="{0D108BD9-81ED-4DB2-BD59-A6C34878D82A}">
                    <a16:rowId xmlns:a16="http://schemas.microsoft.com/office/drawing/2014/main" val="1488963311"/>
                  </a:ext>
                </a:extLst>
              </a:tr>
              <a:tr h="222223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800" u="none" strike="noStrike">
                          <a:effectLst/>
                        </a:rPr>
                        <a:t>Sulphate as SO4</a:t>
                      </a:r>
                      <a:endParaRPr lang="en-GB" sz="1800" b="0" i="0" u="none" strike="noStrike">
                        <a:solidFill>
                          <a:srgbClr val="061E3A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631" marR="4631" marT="4631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800" u="none" strike="noStrike">
                          <a:effectLst/>
                        </a:rPr>
                        <a:t>ppm</a:t>
                      </a:r>
                      <a:endParaRPr lang="en-GB" sz="1800" b="0" i="0" u="none" strike="noStrike">
                        <a:solidFill>
                          <a:srgbClr val="061E3A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631" marR="4631" marT="4631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800" u="none" strike="noStrike" dirty="0">
                          <a:effectLst/>
                          <a:latin typeface="+mn-lt"/>
                        </a:rPr>
                        <a:t>1132</a:t>
                      </a:r>
                      <a:endParaRPr lang="en-GB" sz="1800" b="0" i="0" u="none" strike="noStrike" dirty="0">
                        <a:solidFill>
                          <a:srgbClr val="061E3A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4631" marR="4631" marT="4631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800" u="none" strike="noStrike" dirty="0">
                          <a:effectLst/>
                          <a:latin typeface="+mn-lt"/>
                        </a:rPr>
                        <a:t>1035</a:t>
                      </a:r>
                      <a:endParaRPr lang="en-GB" sz="1800" b="0" i="0" u="none" strike="noStrike" dirty="0">
                        <a:solidFill>
                          <a:srgbClr val="061E3A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4631" marR="4631" marT="4631" marB="0" anchor="ctr"/>
                </a:tc>
                <a:extLst>
                  <a:ext uri="{0D108BD9-81ED-4DB2-BD59-A6C34878D82A}">
                    <a16:rowId xmlns:a16="http://schemas.microsoft.com/office/drawing/2014/main" val="1427383198"/>
                  </a:ext>
                </a:extLst>
              </a:tr>
              <a:tr h="357838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800" u="none" strike="noStrike" dirty="0">
                          <a:effectLst/>
                        </a:rPr>
                        <a:t>Nitrate as NO3</a:t>
                      </a:r>
                      <a:endParaRPr lang="en-GB" sz="1800" b="0" i="0" u="none" strike="noStrike" dirty="0">
                        <a:solidFill>
                          <a:srgbClr val="061E3A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631" marR="4631" marT="4631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800" u="none" strike="noStrike">
                          <a:effectLst/>
                        </a:rPr>
                        <a:t>ppm</a:t>
                      </a:r>
                      <a:endParaRPr lang="en-GB" sz="1800" b="0" i="0" u="none" strike="noStrike">
                        <a:solidFill>
                          <a:srgbClr val="061E3A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631" marR="4631" marT="4631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800" u="none" strike="noStrike">
                          <a:effectLst/>
                          <a:latin typeface="+mn-lt"/>
                        </a:rPr>
                        <a:t>37</a:t>
                      </a:r>
                      <a:endParaRPr lang="en-GB" sz="1800" b="0" i="0" u="none" strike="noStrike">
                        <a:solidFill>
                          <a:srgbClr val="061E3A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4631" marR="4631" marT="4631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800" u="none" strike="noStrike" dirty="0">
                          <a:effectLst/>
                          <a:latin typeface="+mn-lt"/>
                        </a:rPr>
                        <a:t>33.7</a:t>
                      </a:r>
                      <a:endParaRPr lang="en-GB" sz="1800" b="0" i="0" u="none" strike="noStrike" dirty="0">
                        <a:solidFill>
                          <a:srgbClr val="061E3A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4631" marR="4631" marT="4631" marB="0" anchor="ctr"/>
                </a:tc>
                <a:extLst>
                  <a:ext uri="{0D108BD9-81ED-4DB2-BD59-A6C34878D82A}">
                    <a16:rowId xmlns:a16="http://schemas.microsoft.com/office/drawing/2014/main" val="48571683"/>
                  </a:ext>
                </a:extLst>
              </a:tr>
              <a:tr h="222223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800" u="none" strike="noStrike">
                          <a:effectLst/>
                        </a:rPr>
                        <a:t>Calcium as Ca</a:t>
                      </a:r>
                      <a:endParaRPr lang="en-GB" sz="1800" b="0" i="0" u="none" strike="noStrike">
                        <a:solidFill>
                          <a:srgbClr val="061E3A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631" marR="4631" marT="4631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800" u="none" strike="noStrike">
                          <a:effectLst/>
                        </a:rPr>
                        <a:t>ppm</a:t>
                      </a:r>
                      <a:endParaRPr lang="en-GB" sz="1800" b="0" i="0" u="none" strike="noStrike">
                        <a:solidFill>
                          <a:srgbClr val="061E3A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631" marR="4631" marT="4631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800" u="none" strike="noStrike" dirty="0">
                          <a:effectLst/>
                        </a:rPr>
                        <a:t>98.6</a:t>
                      </a:r>
                      <a:endParaRPr lang="en-GB" sz="1800" b="0" i="0" u="none" strike="noStrike" dirty="0">
                        <a:solidFill>
                          <a:srgbClr val="061E3A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631" marR="4631" marT="4631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800" u="none" strike="noStrike" dirty="0">
                          <a:effectLst/>
                        </a:rPr>
                        <a:t>80.1</a:t>
                      </a:r>
                      <a:endParaRPr lang="en-GB" sz="1800" b="0" i="0" u="none" strike="noStrike" dirty="0">
                        <a:solidFill>
                          <a:srgbClr val="061E3A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631" marR="4631" marT="4631" marB="0" anchor="ctr"/>
                </a:tc>
                <a:extLst>
                  <a:ext uri="{0D108BD9-81ED-4DB2-BD59-A6C34878D82A}">
                    <a16:rowId xmlns:a16="http://schemas.microsoft.com/office/drawing/2014/main" val="374700895"/>
                  </a:ext>
                </a:extLst>
              </a:tr>
              <a:tr h="222223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800" u="none" strike="noStrike">
                          <a:effectLst/>
                        </a:rPr>
                        <a:t>Magnesium as Mg</a:t>
                      </a:r>
                      <a:endParaRPr lang="en-GB" sz="1800" b="0" i="0" u="none" strike="noStrike">
                        <a:solidFill>
                          <a:srgbClr val="061E3A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631" marR="4631" marT="4631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800" u="none" strike="noStrike" dirty="0">
                          <a:effectLst/>
                        </a:rPr>
                        <a:t>ppm</a:t>
                      </a:r>
                      <a:endParaRPr lang="en-GB" sz="1800" b="0" i="0" u="none" strike="noStrike" dirty="0">
                        <a:solidFill>
                          <a:srgbClr val="061E3A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631" marR="4631" marT="4631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800" u="none" strike="noStrike">
                          <a:effectLst/>
                        </a:rPr>
                        <a:t>0.664</a:t>
                      </a:r>
                      <a:endParaRPr lang="en-GB" sz="1800" b="0" i="0" u="none" strike="noStrike">
                        <a:solidFill>
                          <a:srgbClr val="061E3A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631" marR="4631" marT="4631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800" u="none" strike="noStrike" dirty="0">
                          <a:effectLst/>
                        </a:rPr>
                        <a:t>&lt;0.1</a:t>
                      </a:r>
                      <a:endParaRPr lang="en-GB" sz="1800" b="0" i="0" u="none" strike="noStrike" dirty="0">
                        <a:solidFill>
                          <a:srgbClr val="061E3A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631" marR="4631" marT="4631" marB="0" anchor="ctr"/>
                </a:tc>
                <a:extLst>
                  <a:ext uri="{0D108BD9-81ED-4DB2-BD59-A6C34878D82A}">
                    <a16:rowId xmlns:a16="http://schemas.microsoft.com/office/drawing/2014/main" val="3145176638"/>
                  </a:ext>
                </a:extLst>
              </a:tr>
              <a:tr h="222223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800" u="none" strike="noStrike">
                          <a:effectLst/>
                        </a:rPr>
                        <a:t>Potassium as K</a:t>
                      </a:r>
                      <a:endParaRPr lang="en-GB" sz="1800" b="0" i="0" u="none" strike="noStrike">
                        <a:solidFill>
                          <a:srgbClr val="061E3A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631" marR="4631" marT="4631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800" u="none" strike="noStrike">
                          <a:effectLst/>
                        </a:rPr>
                        <a:t> </a:t>
                      </a:r>
                      <a:endParaRPr lang="en-GB" sz="1800" b="0" i="0" u="none" strike="noStrike">
                        <a:solidFill>
                          <a:srgbClr val="061E3A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631" marR="4631" marT="4631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800" u="none" strike="noStrike">
                          <a:effectLst/>
                        </a:rPr>
                        <a:t>&lt;0.1</a:t>
                      </a:r>
                      <a:endParaRPr lang="en-GB" sz="1800" b="0" i="0" u="none" strike="noStrike">
                        <a:solidFill>
                          <a:srgbClr val="061E3A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631" marR="4631" marT="4631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800" b="0" i="0" u="none" strike="noStrike" dirty="0">
                          <a:solidFill>
                            <a:srgbClr val="061E3A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&lt;1</a:t>
                      </a:r>
                    </a:p>
                  </a:txBody>
                  <a:tcPr marL="4631" marR="4631" marT="4631" marB="0" anchor="ctr"/>
                </a:tc>
                <a:extLst>
                  <a:ext uri="{0D108BD9-81ED-4DB2-BD59-A6C34878D82A}">
                    <a16:rowId xmlns:a16="http://schemas.microsoft.com/office/drawing/2014/main" val="271179895"/>
                  </a:ext>
                </a:extLst>
              </a:tr>
              <a:tr h="222223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800" u="none" strike="noStrike">
                          <a:effectLst/>
                          <a:highlight>
                            <a:srgbClr val="FFFF00"/>
                          </a:highlight>
                        </a:rPr>
                        <a:t>Total Silica as SiO2</a:t>
                      </a:r>
                      <a:endParaRPr lang="en-GB" sz="1800" b="0" i="0" u="none" strike="noStrike">
                        <a:solidFill>
                          <a:srgbClr val="061E3A"/>
                        </a:solidFill>
                        <a:effectLst/>
                        <a:highlight>
                          <a:srgbClr val="FFFF00"/>
                        </a:highlight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631" marR="4631" marT="4631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800" u="none" strike="noStrike">
                          <a:effectLst/>
                          <a:highlight>
                            <a:srgbClr val="FFFF00"/>
                          </a:highlight>
                        </a:rPr>
                        <a:t>ppm</a:t>
                      </a:r>
                      <a:endParaRPr lang="en-GB" sz="1800" b="0" i="0" u="none" strike="noStrike">
                        <a:solidFill>
                          <a:srgbClr val="061E3A"/>
                        </a:solidFill>
                        <a:effectLst/>
                        <a:highlight>
                          <a:srgbClr val="FFFF00"/>
                        </a:highlight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631" marR="4631" marT="4631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800" u="none" strike="noStrike" dirty="0">
                          <a:effectLst/>
                          <a:highlight>
                            <a:srgbClr val="FFFF00"/>
                          </a:highlight>
                        </a:rPr>
                        <a:t>136</a:t>
                      </a:r>
                      <a:endParaRPr lang="en-GB" sz="1800" b="0" i="0" u="none" strike="noStrike" dirty="0">
                        <a:solidFill>
                          <a:srgbClr val="061E3A"/>
                        </a:solidFill>
                        <a:effectLst/>
                        <a:highlight>
                          <a:srgbClr val="FFFF00"/>
                        </a:highlight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631" marR="4631" marT="4631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800" u="none" strike="noStrike" dirty="0">
                          <a:effectLst/>
                          <a:highlight>
                            <a:srgbClr val="FFFF00"/>
                          </a:highlight>
                        </a:rPr>
                        <a:t>20.9</a:t>
                      </a:r>
                      <a:endParaRPr lang="en-GB" sz="1800" b="0" i="0" u="none" strike="noStrike" dirty="0">
                        <a:solidFill>
                          <a:srgbClr val="061E3A"/>
                        </a:solidFill>
                        <a:effectLst/>
                        <a:highlight>
                          <a:srgbClr val="FFFF00"/>
                        </a:highlight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631" marR="4631" marT="4631" marB="0" anchor="ctr"/>
                </a:tc>
                <a:extLst>
                  <a:ext uri="{0D108BD9-81ED-4DB2-BD59-A6C34878D82A}">
                    <a16:rowId xmlns:a16="http://schemas.microsoft.com/office/drawing/2014/main" val="748956141"/>
                  </a:ext>
                </a:extLst>
              </a:tr>
              <a:tr h="222223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800" u="none" strike="noStrike">
                          <a:effectLst/>
                        </a:rPr>
                        <a:t>Sodium as Na</a:t>
                      </a:r>
                      <a:endParaRPr lang="en-GB" sz="1800" b="0" i="0" u="none" strike="noStrike">
                        <a:solidFill>
                          <a:srgbClr val="061E3A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631" marR="4631" marT="4631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800" u="none" strike="noStrike">
                          <a:effectLst/>
                        </a:rPr>
                        <a:t> </a:t>
                      </a:r>
                      <a:endParaRPr lang="en-GB" sz="1800" b="0" i="0" u="none" strike="noStrike">
                        <a:solidFill>
                          <a:srgbClr val="061E3A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631" marR="4631" marT="4631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800" u="none" strike="noStrike">
                          <a:effectLst/>
                        </a:rPr>
                        <a:t>532</a:t>
                      </a:r>
                      <a:endParaRPr lang="en-GB" sz="1800" b="0" i="0" u="none" strike="noStrike">
                        <a:solidFill>
                          <a:srgbClr val="061E3A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631" marR="4631" marT="4631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800" u="none" strike="noStrike" dirty="0">
                          <a:effectLst/>
                        </a:rPr>
                        <a:t>955</a:t>
                      </a:r>
                      <a:endParaRPr lang="en-GB" sz="1800" b="0" i="0" u="none" strike="noStrike" dirty="0">
                        <a:solidFill>
                          <a:srgbClr val="061E3A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631" marR="4631" marT="4631" marB="0" anchor="ctr"/>
                </a:tc>
                <a:extLst>
                  <a:ext uri="{0D108BD9-81ED-4DB2-BD59-A6C34878D82A}">
                    <a16:rowId xmlns:a16="http://schemas.microsoft.com/office/drawing/2014/main" val="3766084848"/>
                  </a:ext>
                </a:extLst>
              </a:tr>
              <a:tr h="222223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800" u="none" strike="noStrike">
                          <a:effectLst/>
                        </a:rPr>
                        <a:t>Strontium as Sr</a:t>
                      </a:r>
                      <a:endParaRPr lang="en-GB" sz="1800" b="0" i="0" u="none" strike="noStrike">
                        <a:solidFill>
                          <a:srgbClr val="061E3A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631" marR="4631" marT="4631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800" u="none" strike="noStrike">
                          <a:effectLst/>
                        </a:rPr>
                        <a:t> </a:t>
                      </a:r>
                      <a:endParaRPr lang="en-GB" sz="1800" b="0" i="0" u="none" strike="noStrike">
                        <a:solidFill>
                          <a:srgbClr val="061E3A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631" marR="4631" marT="4631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800" u="none" strike="noStrike" dirty="0">
                          <a:effectLst/>
                        </a:rPr>
                        <a:t>0.2</a:t>
                      </a:r>
                      <a:endParaRPr lang="en-GB" sz="1800" b="0" i="0" u="none" strike="noStrike" dirty="0">
                        <a:solidFill>
                          <a:srgbClr val="061E3A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631" marR="4631" marT="4631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800" u="none" strike="noStrike" dirty="0">
                          <a:effectLst/>
                        </a:rPr>
                        <a:t>0.2</a:t>
                      </a:r>
                      <a:endParaRPr lang="en-GB" sz="1800" b="0" i="0" u="none" strike="noStrike" dirty="0">
                        <a:solidFill>
                          <a:srgbClr val="061E3A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631" marR="4631" marT="4631" marB="0" anchor="ctr"/>
                </a:tc>
                <a:extLst>
                  <a:ext uri="{0D108BD9-81ED-4DB2-BD59-A6C34878D82A}">
                    <a16:rowId xmlns:a16="http://schemas.microsoft.com/office/drawing/2014/main" val="404100584"/>
                  </a:ext>
                </a:extLst>
              </a:tr>
              <a:tr h="222223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800" u="none" strike="noStrike">
                          <a:effectLst/>
                        </a:rPr>
                        <a:t>TOC</a:t>
                      </a:r>
                      <a:endParaRPr lang="en-GB" sz="1800" b="0" i="0" u="none" strike="noStrike">
                        <a:solidFill>
                          <a:srgbClr val="061E3A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631" marR="4631" marT="4631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800" u="none" strike="noStrike">
                          <a:effectLst/>
                        </a:rPr>
                        <a:t>ppm</a:t>
                      </a:r>
                      <a:endParaRPr lang="en-GB" sz="1800" b="0" i="0" u="none" strike="noStrike">
                        <a:solidFill>
                          <a:srgbClr val="061E3A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631" marR="4631" marT="463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800" u="none" strike="noStrike">
                          <a:effectLst/>
                        </a:rPr>
                        <a:t>&lt;1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631" marR="4631" marT="4631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800" u="none" strike="noStrike" dirty="0">
                          <a:effectLst/>
                        </a:rPr>
                        <a:t>&lt;1</a:t>
                      </a:r>
                      <a:endParaRPr lang="en-GB" sz="1800" b="0" i="0" u="none" strike="noStrike" dirty="0">
                        <a:solidFill>
                          <a:srgbClr val="061E3A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631" marR="4631" marT="4631" marB="0" anchor="ctr"/>
                </a:tc>
                <a:extLst>
                  <a:ext uri="{0D108BD9-81ED-4DB2-BD59-A6C34878D82A}">
                    <a16:rowId xmlns:a16="http://schemas.microsoft.com/office/drawing/2014/main" val="2768524859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0EC17181-07FB-4823-7FA5-0C324071A861}"/>
              </a:ext>
            </a:extLst>
          </p:cNvPr>
          <p:cNvSpPr txBox="1"/>
          <p:nvPr/>
        </p:nvSpPr>
        <p:spPr>
          <a:xfrm>
            <a:off x="1208527" y="5342230"/>
            <a:ext cx="9774945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Ferric chloride was tested, and successfully reduce to ~20ppm using ferric chlorid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Filtration was done for pre-treated samples to remove precipitat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Dosage of FeCl3 ~500 mg/l</a:t>
            </a:r>
          </a:p>
        </p:txBody>
      </p:sp>
    </p:spTree>
    <p:extLst>
      <p:ext uri="{BB962C8B-B14F-4D97-AF65-F5344CB8AC3E}">
        <p14:creationId xmlns:p14="http://schemas.microsoft.com/office/powerpoint/2010/main" val="266873512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B6C5B0B-C595-4479-BA92-AE99996A903C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 smtClean="0">
                <a:ln>
                  <a:noFill/>
                </a:ln>
                <a:solidFill>
                  <a:srgbClr val="7FCA20"/>
                </a:solidFill>
                <a:effectLst/>
                <a:uLnTx/>
                <a:uFillTx/>
                <a:latin typeface="IBM Plex Sans"/>
                <a:sym typeface="IBM Plex San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" sz="1600" b="0" i="0" u="none" strike="noStrike" kern="1200" cap="none" spc="0" normalizeH="0" baseline="0" noProof="0">
              <a:ln>
                <a:noFill/>
              </a:ln>
              <a:solidFill>
                <a:srgbClr val="7FCA20"/>
              </a:solidFill>
              <a:effectLst/>
              <a:uLnTx/>
              <a:uFillTx/>
              <a:latin typeface="IBM Plex Sans"/>
              <a:sym typeface="IBM Plex San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402C1FA-75A3-4F2B-AF7C-E705A74C675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74261" y="2064208"/>
            <a:ext cx="5943006" cy="1419224"/>
          </a:xfrm>
        </p:spPr>
        <p:txBody>
          <a:bodyPr/>
          <a:lstStyle/>
          <a:p>
            <a:br>
              <a:rPr lang="en-US" sz="3600" dirty="0"/>
            </a:br>
            <a:r>
              <a:rPr lang="en-US" sz="3600" dirty="0"/>
              <a:t>Experiments: </a:t>
            </a:r>
            <a:r>
              <a:rPr lang="en-US" sz="3600" dirty="0" err="1"/>
              <a:t>ROi</a:t>
            </a:r>
            <a:r>
              <a:rPr lang="en-US" sz="3600" dirty="0"/>
              <a:t> Stage 1</a:t>
            </a:r>
            <a:br>
              <a:rPr lang="en-US" dirty="0"/>
            </a:br>
            <a:br>
              <a:rPr lang="en-US" dirty="0"/>
            </a:br>
            <a:r>
              <a:rPr lang="en-US" dirty="0"/>
              <a:t>Scheme followed: </a:t>
            </a:r>
            <a:br>
              <a:rPr lang="en-US" dirty="0"/>
            </a:br>
            <a:r>
              <a:rPr lang="en-US" dirty="0"/>
              <a:t>	</a:t>
            </a:r>
            <a:r>
              <a:rPr lang="en-US" sz="3200" dirty="0"/>
              <a:t>- </a:t>
            </a:r>
            <a:r>
              <a:rPr lang="en-US" sz="2800" dirty="0"/>
              <a:t>semi-batch RO </a:t>
            </a:r>
            <a:br>
              <a:rPr lang="en-US" dirty="0"/>
            </a:br>
            <a:endParaRPr lang="en-SG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236A6E4-9D7C-0F75-817E-B88F3CAEE0F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391" t="10901" r="3809" b="7211"/>
          <a:stretch/>
        </p:blipFill>
        <p:spPr>
          <a:xfrm>
            <a:off x="9564935" y="1056675"/>
            <a:ext cx="1675764" cy="2015065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C0EE9968-DEED-9BA6-823A-CE9AFC8F6EA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74080" y="3300994"/>
            <a:ext cx="3981710" cy="34133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000051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E9A0EA-E270-4F13-95AC-891526D65F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09239" y="251343"/>
            <a:ext cx="6633924" cy="1084000"/>
          </a:xfrm>
          <a:noFill/>
        </p:spPr>
        <p:txBody>
          <a:bodyPr/>
          <a:lstStyle/>
          <a:p>
            <a:r>
              <a:rPr lang="en-US" dirty="0" err="1"/>
              <a:t>ROi</a:t>
            </a:r>
            <a:r>
              <a:rPr lang="en-US" dirty="0"/>
              <a:t> Stage 1 – Lab setup</a:t>
            </a:r>
            <a:endParaRPr lang="en-SG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495601B-DA81-411E-9277-B25FF36453C0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 smtClean="0">
                <a:ln>
                  <a:noFill/>
                </a:ln>
                <a:solidFill>
                  <a:srgbClr val="757C83"/>
                </a:solidFill>
                <a:effectLst/>
                <a:uLnTx/>
                <a:uFillTx/>
                <a:latin typeface="IBM Plex Sans"/>
                <a:sym typeface="IBM Plex San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" sz="1600" b="0" i="0" u="none" strike="noStrike" kern="1200" cap="none" spc="0" normalizeH="0" baseline="0" noProof="0">
              <a:ln>
                <a:noFill/>
              </a:ln>
              <a:solidFill>
                <a:srgbClr val="757C83"/>
              </a:solidFill>
              <a:effectLst/>
              <a:uLnTx/>
              <a:uFillTx/>
              <a:latin typeface="IBM Plex Sans"/>
              <a:sym typeface="IBM Plex Sans"/>
            </a:endParaRPr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8AE63B9E-4A73-2676-10DC-1277AC2D15F5}"/>
              </a:ext>
            </a:extLst>
          </p:cNvPr>
          <p:cNvSpPr txBox="1">
            <a:spLocks/>
          </p:cNvSpPr>
          <p:nvPr/>
        </p:nvSpPr>
        <p:spPr>
          <a:xfrm>
            <a:off x="713976" y="1556635"/>
            <a:ext cx="10149037" cy="1419783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1" kern="0" dirty="0">
                <a:solidFill>
                  <a:schemeClr val="accent6">
                    <a:lumMod val="90000"/>
                    <a:lumOff val="10000"/>
                  </a:schemeClr>
                </a:solidFill>
              </a:rPr>
              <a:t>RO feed stream was concentrated 10x using the micromodule setup and these parameters</a:t>
            </a:r>
          </a:p>
          <a:p>
            <a:endParaRPr lang="en-US" b="1" kern="0" dirty="0">
              <a:solidFill>
                <a:schemeClr val="accent6">
                  <a:lumMod val="90000"/>
                  <a:lumOff val="10000"/>
                </a:schemeClr>
              </a:solidFill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b="1" kern="0" dirty="0">
                <a:solidFill>
                  <a:schemeClr val="accent6">
                    <a:lumMod val="90000"/>
                    <a:lumOff val="10000"/>
                  </a:schemeClr>
                </a:solidFill>
              </a:rPr>
              <a:t>Feed pressure: 1000 psi (69 bar)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b="1" kern="0" dirty="0">
                <a:solidFill>
                  <a:schemeClr val="accent6">
                    <a:lumMod val="90000"/>
                    <a:lumOff val="10000"/>
                  </a:schemeClr>
                </a:solidFill>
              </a:rPr>
              <a:t>Flow rate: 200 ml/min</a:t>
            </a:r>
          </a:p>
          <a:p>
            <a:r>
              <a:rPr lang="en-US" b="1" kern="0" dirty="0">
                <a:solidFill>
                  <a:schemeClr val="accent6">
                    <a:lumMod val="90000"/>
                    <a:lumOff val="10000"/>
                  </a:schemeClr>
                </a:solidFill>
              </a:rPr>
              <a:t>	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B79E7BE-28DA-8D4F-3D20-9861EED8084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77771" y="3725966"/>
            <a:ext cx="3055620" cy="261375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8BC19AC-F180-75FB-21D1-3C42061206E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1990" y="3725966"/>
            <a:ext cx="3002356" cy="2613753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1DD09E9-B306-C7A2-09F0-CFD6E92E0FB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70820" y="3725966"/>
            <a:ext cx="3568093" cy="2613753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EC38A883-4ED4-C5DE-B943-1A01BAF2B52D}"/>
              </a:ext>
            </a:extLst>
          </p:cNvPr>
          <p:cNvSpPr txBox="1"/>
          <p:nvPr/>
        </p:nvSpPr>
        <p:spPr>
          <a:xfrm>
            <a:off x="4461004" y="3244334"/>
            <a:ext cx="21877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prstClr val="black"/>
                </a:solidFill>
                <a:latin typeface="Calibri"/>
              </a:rPr>
              <a:t>I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struments</a:t>
            </a:r>
            <a:endParaRPr kumimoji="0" lang="en-SG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BFB16A7-9E91-CC9A-4A38-D83D1D78D768}"/>
              </a:ext>
            </a:extLst>
          </p:cNvPr>
          <p:cNvSpPr txBox="1"/>
          <p:nvPr/>
        </p:nvSpPr>
        <p:spPr>
          <a:xfrm>
            <a:off x="8272453" y="3244334"/>
            <a:ext cx="25905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igh pressure pump</a:t>
            </a:r>
            <a:endParaRPr kumimoji="0" lang="en-SG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998C5B5-7E56-A8E2-3A9B-4B69E69C5FFD}"/>
              </a:ext>
            </a:extLst>
          </p:cNvPr>
          <p:cNvSpPr txBox="1"/>
          <p:nvPr/>
        </p:nvSpPr>
        <p:spPr>
          <a:xfrm>
            <a:off x="1132930" y="3197710"/>
            <a:ext cx="21877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embrane cell</a:t>
            </a:r>
            <a:endParaRPr kumimoji="0" lang="en-SG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4410423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DF9350E6-5E11-13C6-03B3-4576E90B01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itial and final concentrations: Refractive Index and TDS</a:t>
            </a:r>
            <a:endParaRPr lang="en-SG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16631E0-A431-BD22-1ACE-F7E592E3EBD4}"/>
              </a:ext>
            </a:extLst>
          </p:cNvPr>
          <p:cNvSpPr txBox="1"/>
          <p:nvPr/>
        </p:nvSpPr>
        <p:spPr>
          <a:xfrm>
            <a:off x="752927" y="5804130"/>
            <a:ext cx="2261678" cy="378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itial: 2,610ppm TDS</a:t>
            </a:r>
            <a:endParaRPr kumimoji="0" lang="en-SG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6851F23-1047-5E23-1EB7-FFA5EF0FFA92}"/>
              </a:ext>
            </a:extLst>
          </p:cNvPr>
          <p:cNvSpPr txBox="1"/>
          <p:nvPr/>
        </p:nvSpPr>
        <p:spPr>
          <a:xfrm>
            <a:off x="3014605" y="5804131"/>
            <a:ext cx="2261678" cy="378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inal: 35,890ppm TDS</a:t>
            </a:r>
            <a:endParaRPr kumimoji="0" lang="en-SG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5" name="Picture 14" descr="A picture containing text, indoor, electronic&#10;&#10;Description automatically generated">
            <a:extLst>
              <a:ext uri="{FF2B5EF4-FFF2-40B4-BE49-F238E27FC236}">
                <a16:creationId xmlns:a16="http://schemas.microsoft.com/office/drawing/2014/main" id="{D71A5CDE-A975-C750-44B1-2FA6A3592F3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8317" y="1477817"/>
            <a:ext cx="1690899" cy="4326313"/>
          </a:xfrm>
          <a:prstGeom prst="rect">
            <a:avLst/>
          </a:prstGeom>
        </p:spPr>
      </p:pic>
      <p:pic>
        <p:nvPicPr>
          <p:cNvPr id="16" name="Picture 15" descr="A close up of a meter&#10;&#10;Description automatically generated with low confidence">
            <a:extLst>
              <a:ext uri="{FF2B5EF4-FFF2-40B4-BE49-F238E27FC236}">
                <a16:creationId xmlns:a16="http://schemas.microsoft.com/office/drawing/2014/main" id="{02E5BE63-5532-D0B6-EF48-092341043B1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9995" y="1477817"/>
            <a:ext cx="1690899" cy="4326314"/>
          </a:xfrm>
          <a:prstGeom prst="rect">
            <a:avLst/>
          </a:prstGeom>
        </p:spPr>
      </p:pic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2B7EDAA2-FED2-BB50-2A01-18495EF8B73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80413491"/>
              </p:ext>
            </p:extLst>
          </p:nvPr>
        </p:nvGraphicFramePr>
        <p:xfrm>
          <a:off x="5363326" y="1219384"/>
          <a:ext cx="6496442" cy="44225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9149947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8E01EFA-4F10-F218-ADEC-39A267C5FD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SG" dirty="0" err="1"/>
              <a:t>ROi</a:t>
            </a:r>
            <a:r>
              <a:rPr lang="en-SG" dirty="0"/>
              <a:t> Stage 1 : Experimental results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A6F1B670-7E3C-302D-FABF-D32F2206B2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97208320"/>
              </p:ext>
            </p:extLst>
          </p:nvPr>
        </p:nvGraphicFramePr>
        <p:xfrm>
          <a:off x="577596" y="1975934"/>
          <a:ext cx="11036808" cy="436391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39468">
                  <a:extLst>
                    <a:ext uri="{9D8B030D-6E8A-4147-A177-3AD203B41FA5}">
                      <a16:colId xmlns:a16="http://schemas.microsoft.com/office/drawing/2014/main" val="2110913093"/>
                    </a:ext>
                  </a:extLst>
                </a:gridCol>
                <a:gridCol w="1839468">
                  <a:extLst>
                    <a:ext uri="{9D8B030D-6E8A-4147-A177-3AD203B41FA5}">
                      <a16:colId xmlns:a16="http://schemas.microsoft.com/office/drawing/2014/main" val="3405631734"/>
                    </a:ext>
                  </a:extLst>
                </a:gridCol>
                <a:gridCol w="1839468">
                  <a:extLst>
                    <a:ext uri="{9D8B030D-6E8A-4147-A177-3AD203B41FA5}">
                      <a16:colId xmlns:a16="http://schemas.microsoft.com/office/drawing/2014/main" val="3046465172"/>
                    </a:ext>
                  </a:extLst>
                </a:gridCol>
                <a:gridCol w="1839468">
                  <a:extLst>
                    <a:ext uri="{9D8B030D-6E8A-4147-A177-3AD203B41FA5}">
                      <a16:colId xmlns:a16="http://schemas.microsoft.com/office/drawing/2014/main" val="3610496756"/>
                    </a:ext>
                  </a:extLst>
                </a:gridCol>
                <a:gridCol w="1839468">
                  <a:extLst>
                    <a:ext uri="{9D8B030D-6E8A-4147-A177-3AD203B41FA5}">
                      <a16:colId xmlns:a16="http://schemas.microsoft.com/office/drawing/2014/main" val="3237603449"/>
                    </a:ext>
                  </a:extLst>
                </a:gridCol>
                <a:gridCol w="1839468">
                  <a:extLst>
                    <a:ext uri="{9D8B030D-6E8A-4147-A177-3AD203B41FA5}">
                      <a16:colId xmlns:a16="http://schemas.microsoft.com/office/drawing/2014/main" val="1057160746"/>
                    </a:ext>
                  </a:extLst>
                </a:gridCol>
              </a:tblGrid>
              <a:tr h="357698"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Parameter </a:t>
                      </a:r>
                      <a:endParaRPr lang="en-SG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Method</a:t>
                      </a:r>
                      <a:endParaRPr lang="en-SG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1" u="none" strike="noStrike">
                          <a:solidFill>
                            <a:schemeClr val="bg1"/>
                          </a:solidFill>
                          <a:effectLst/>
                        </a:rPr>
                        <a:t>Unit</a:t>
                      </a:r>
                      <a:endParaRPr lang="en-SG" sz="14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1" u="none" strike="noStrike" dirty="0" err="1">
                          <a:solidFill>
                            <a:schemeClr val="bg1"/>
                          </a:solidFill>
                          <a:effectLst/>
                        </a:rPr>
                        <a:t>ROi</a:t>
                      </a:r>
                      <a:r>
                        <a:rPr lang="en-SG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 Feed</a:t>
                      </a:r>
                      <a:endParaRPr lang="en-SG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1" u="none" strike="noStrike" dirty="0" err="1">
                          <a:solidFill>
                            <a:schemeClr val="bg1"/>
                          </a:solidFill>
                          <a:effectLst/>
                        </a:rPr>
                        <a:t>ROi</a:t>
                      </a:r>
                      <a:r>
                        <a:rPr lang="en-SG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 Brine</a:t>
                      </a:r>
                      <a:endParaRPr lang="en-SG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1" u="none" strike="noStrike" dirty="0" err="1">
                          <a:solidFill>
                            <a:schemeClr val="bg1"/>
                          </a:solidFill>
                          <a:effectLst/>
                        </a:rPr>
                        <a:t>ROi</a:t>
                      </a:r>
                      <a:r>
                        <a:rPr lang="en-SG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 Permeate</a:t>
                      </a:r>
                      <a:endParaRPr lang="en-SG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7650280"/>
                  </a:ext>
                </a:extLst>
              </a:tr>
              <a:tr h="357698"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u="none" strike="noStrike" dirty="0">
                          <a:effectLst/>
                        </a:rPr>
                        <a:t>Fluoride as F</a:t>
                      </a:r>
                      <a:endParaRPr lang="en-SG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 Light" panose="020F03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u="none" strike="noStrike" dirty="0">
                          <a:effectLst/>
                        </a:rPr>
                        <a:t>Ion Chromatography</a:t>
                      </a:r>
                      <a:endParaRPr lang="en-SG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 Light" panose="020F03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u="none" strike="noStrike" dirty="0">
                          <a:effectLst/>
                        </a:rPr>
                        <a:t>mg/l</a:t>
                      </a:r>
                      <a:endParaRPr lang="en-SG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 Light" panose="020F03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u="none" strike="noStrike" dirty="0">
                          <a:effectLst/>
                        </a:rPr>
                        <a:t>6.11</a:t>
                      </a:r>
                      <a:endParaRPr lang="en-SG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u="none" strike="noStrike" dirty="0">
                          <a:effectLst/>
                        </a:rPr>
                        <a:t>92.2</a:t>
                      </a:r>
                      <a:endParaRPr lang="en-SG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u="none" strike="noStrike" dirty="0">
                          <a:effectLst/>
                        </a:rPr>
                        <a:t>0.15</a:t>
                      </a:r>
                      <a:endParaRPr lang="en-SG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8351972"/>
                  </a:ext>
                </a:extLst>
              </a:tr>
              <a:tr h="357698"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u="none" strike="noStrike">
                          <a:effectLst/>
                        </a:rPr>
                        <a:t>Chloride as Cl</a:t>
                      </a:r>
                      <a:endParaRPr lang="en-SG" sz="1400" b="0" i="0" u="none" strike="noStrike">
                        <a:solidFill>
                          <a:srgbClr val="000000"/>
                        </a:solidFill>
                        <a:effectLst/>
                        <a:latin typeface="Calibri Light" panose="020F03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u="none" strike="noStrike">
                          <a:effectLst/>
                        </a:rPr>
                        <a:t>Ion Chromatography</a:t>
                      </a:r>
                      <a:endParaRPr lang="en-SG" sz="1400" b="0" i="0" u="none" strike="noStrike">
                        <a:solidFill>
                          <a:srgbClr val="000000"/>
                        </a:solidFill>
                        <a:effectLst/>
                        <a:latin typeface="Calibri Light" panose="020F03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u="none" strike="noStrike">
                          <a:effectLst/>
                        </a:rPr>
                        <a:t>mg/l</a:t>
                      </a:r>
                      <a:endParaRPr lang="en-SG" sz="1400" b="0" i="0" u="none" strike="noStrike">
                        <a:solidFill>
                          <a:srgbClr val="000000"/>
                        </a:solidFill>
                        <a:effectLst/>
                        <a:latin typeface="Calibri Light" panose="020F03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u="none" strike="noStrike" dirty="0">
                          <a:effectLst/>
                        </a:rPr>
                        <a:t>378</a:t>
                      </a:r>
                      <a:endParaRPr lang="en-SG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u="none" strike="noStrike">
                          <a:effectLst/>
                        </a:rPr>
                        <a:t>4,712</a:t>
                      </a:r>
                      <a:endParaRPr lang="en-SG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u="none" strike="noStrike" dirty="0">
                          <a:effectLst/>
                        </a:rPr>
                        <a:t> 10.9</a:t>
                      </a:r>
                      <a:endParaRPr lang="en-SG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3267018"/>
                  </a:ext>
                </a:extLst>
              </a:tr>
              <a:tr h="429238"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u="none" strike="noStrike" dirty="0">
                          <a:effectLst/>
                        </a:rPr>
                        <a:t>Sulphate as SO</a:t>
                      </a:r>
                      <a:r>
                        <a:rPr lang="en-SG" sz="1400" b="0" u="none" strike="noStrike" baseline="-25000" dirty="0">
                          <a:effectLst/>
                        </a:rPr>
                        <a:t>4</a:t>
                      </a:r>
                      <a:endParaRPr lang="en-SG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 Light" panose="020F03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u="none" strike="noStrike" dirty="0">
                          <a:effectLst/>
                        </a:rPr>
                        <a:t>Ion Chromatography</a:t>
                      </a:r>
                      <a:endParaRPr lang="en-SG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 Light" panose="020F03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u="none" strike="noStrike">
                          <a:effectLst/>
                        </a:rPr>
                        <a:t>mg/l</a:t>
                      </a:r>
                      <a:endParaRPr lang="en-SG" sz="1400" b="0" i="0" u="none" strike="noStrike">
                        <a:solidFill>
                          <a:srgbClr val="000000"/>
                        </a:solidFill>
                        <a:effectLst/>
                        <a:latin typeface="Calibri Light" panose="020F03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u="none" strike="noStrike">
                          <a:effectLst/>
                        </a:rPr>
                        <a:t>1,331</a:t>
                      </a:r>
                      <a:endParaRPr lang="en-SG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u="none" strike="noStrike" dirty="0">
                          <a:effectLst/>
                        </a:rPr>
                        <a:t>16,592</a:t>
                      </a:r>
                      <a:endParaRPr lang="en-SG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u="none" strike="noStrike" dirty="0">
                          <a:effectLst/>
                        </a:rPr>
                        <a:t> 12.3</a:t>
                      </a:r>
                      <a:endParaRPr lang="en-SG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9383867"/>
                  </a:ext>
                </a:extLst>
              </a:tr>
              <a:tr h="357698"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u="none" strike="noStrike" dirty="0">
                          <a:effectLst/>
                        </a:rPr>
                        <a:t>Calcium as Ca</a:t>
                      </a:r>
                      <a:endParaRPr lang="en-SG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 Light" panose="020F03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u="none" strike="noStrike">
                          <a:effectLst/>
                        </a:rPr>
                        <a:t>EPA200.7</a:t>
                      </a:r>
                      <a:endParaRPr lang="en-SG" sz="1400" b="0" i="0" u="none" strike="noStrike">
                        <a:solidFill>
                          <a:srgbClr val="000000"/>
                        </a:solidFill>
                        <a:effectLst/>
                        <a:latin typeface="Calibri Light" panose="020F03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u="none" strike="noStrike">
                          <a:effectLst/>
                        </a:rPr>
                        <a:t>mg/l</a:t>
                      </a:r>
                      <a:endParaRPr lang="en-SG" sz="1400" b="0" i="0" u="none" strike="noStrike">
                        <a:solidFill>
                          <a:srgbClr val="000000"/>
                        </a:solidFill>
                        <a:effectLst/>
                        <a:latin typeface="Calibri Light" panose="020F03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u="none" strike="noStrike" dirty="0">
                          <a:effectLst/>
                        </a:rPr>
                        <a:t>66.3</a:t>
                      </a:r>
                      <a:endParaRPr lang="en-SG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u="none" strike="noStrike" dirty="0">
                          <a:effectLst/>
                        </a:rPr>
                        <a:t>861</a:t>
                      </a:r>
                      <a:endParaRPr lang="en-SG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u="none" strike="noStrike" dirty="0">
                          <a:effectLst/>
                        </a:rPr>
                        <a:t>0.63</a:t>
                      </a:r>
                      <a:endParaRPr lang="en-SG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1323509"/>
                  </a:ext>
                </a:extLst>
              </a:tr>
              <a:tr h="357698"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u="none" strike="noStrike">
                          <a:effectLst/>
                        </a:rPr>
                        <a:t>Magnesium as Mg</a:t>
                      </a:r>
                      <a:endParaRPr lang="en-SG" sz="1400" b="0" i="0" u="none" strike="noStrike">
                        <a:solidFill>
                          <a:srgbClr val="000000"/>
                        </a:solidFill>
                        <a:effectLst/>
                        <a:latin typeface="Calibri Light" panose="020F03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u="none" strike="noStrike">
                          <a:effectLst/>
                        </a:rPr>
                        <a:t>EPA200.7</a:t>
                      </a:r>
                      <a:endParaRPr lang="en-SG" sz="1400" b="0" i="0" u="none" strike="noStrike">
                        <a:solidFill>
                          <a:srgbClr val="000000"/>
                        </a:solidFill>
                        <a:effectLst/>
                        <a:latin typeface="Calibri Light" panose="020F03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u="none" strike="noStrike" dirty="0">
                          <a:effectLst/>
                        </a:rPr>
                        <a:t>mg/l</a:t>
                      </a:r>
                      <a:endParaRPr lang="en-SG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 Light" panose="020F03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u="none" strike="noStrike" dirty="0">
                          <a:effectLst/>
                        </a:rPr>
                        <a:t>1.9</a:t>
                      </a:r>
                      <a:endParaRPr lang="en-SG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u="none" strike="noStrike">
                          <a:effectLst/>
                        </a:rPr>
                        <a:t>20.9</a:t>
                      </a:r>
                      <a:endParaRPr lang="en-SG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u="none" strike="noStrike" dirty="0">
                          <a:effectLst/>
                        </a:rPr>
                        <a:t>&lt;0.1</a:t>
                      </a:r>
                      <a:endParaRPr lang="en-SG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1328179"/>
                  </a:ext>
                </a:extLst>
              </a:tr>
              <a:tr h="357698"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u="none" strike="noStrike" dirty="0">
                          <a:effectLst/>
                        </a:rPr>
                        <a:t>Potassium as K </a:t>
                      </a:r>
                      <a:endParaRPr lang="en-SG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 Light" panose="020F03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u="none" strike="noStrike">
                          <a:effectLst/>
                        </a:rPr>
                        <a:t>EPA200.7</a:t>
                      </a:r>
                      <a:endParaRPr lang="en-SG" sz="1400" b="0" i="0" u="none" strike="noStrike">
                        <a:solidFill>
                          <a:srgbClr val="000000"/>
                        </a:solidFill>
                        <a:effectLst/>
                        <a:latin typeface="Calibri Light" panose="020F03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u="none" strike="noStrike">
                          <a:effectLst/>
                        </a:rPr>
                        <a:t>mg/l</a:t>
                      </a:r>
                      <a:endParaRPr lang="en-SG" sz="1400" b="0" i="0" u="none" strike="noStrike">
                        <a:solidFill>
                          <a:srgbClr val="000000"/>
                        </a:solidFill>
                        <a:effectLst/>
                        <a:latin typeface="Calibri Light" panose="020F03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u="none" strike="noStrike" dirty="0">
                          <a:effectLst/>
                        </a:rPr>
                        <a:t>3.93</a:t>
                      </a:r>
                      <a:endParaRPr lang="en-SG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u="none" strike="noStrike" dirty="0">
                          <a:effectLst/>
                        </a:rPr>
                        <a:t>87.9</a:t>
                      </a:r>
                      <a:endParaRPr lang="en-SG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u="none" strike="noStrike" dirty="0">
                          <a:effectLst/>
                        </a:rPr>
                        <a:t>&lt;0.1</a:t>
                      </a:r>
                      <a:endParaRPr lang="en-SG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3893795"/>
                  </a:ext>
                </a:extLst>
              </a:tr>
              <a:tr h="357698"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u="none" strike="noStrike" dirty="0">
                          <a:effectLst/>
                        </a:rPr>
                        <a:t>Total Silica SiO</a:t>
                      </a:r>
                      <a:r>
                        <a:rPr lang="en-SG" sz="1000" b="0" u="none" strike="noStrike" dirty="0">
                          <a:effectLst/>
                        </a:rPr>
                        <a:t>2 </a:t>
                      </a:r>
                      <a:endParaRPr lang="en-SG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 Light" panose="020F03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u="none" strike="noStrike">
                          <a:effectLst/>
                        </a:rPr>
                        <a:t>EPA200.7/ Calculation</a:t>
                      </a:r>
                      <a:endParaRPr lang="en-SG" sz="1400" b="0" i="0" u="none" strike="noStrike">
                        <a:solidFill>
                          <a:srgbClr val="000000"/>
                        </a:solidFill>
                        <a:effectLst/>
                        <a:latin typeface="Calibri Light" panose="020F03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u="none" strike="noStrike" dirty="0">
                          <a:effectLst/>
                        </a:rPr>
                        <a:t>mg/l</a:t>
                      </a:r>
                      <a:endParaRPr lang="en-SG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 Light" panose="020F03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u="none" strike="noStrike" dirty="0">
                          <a:effectLst/>
                        </a:rPr>
                        <a:t>20.8</a:t>
                      </a:r>
                      <a:endParaRPr lang="en-SG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u="none" strike="noStrike" dirty="0">
                          <a:effectLst/>
                        </a:rPr>
                        <a:t>340*</a:t>
                      </a:r>
                      <a:endParaRPr lang="en-SG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u="none" strike="noStrike" dirty="0">
                          <a:effectLst/>
                        </a:rPr>
                        <a:t>&lt;0.1</a:t>
                      </a:r>
                      <a:endParaRPr lang="en-SG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8197902"/>
                  </a:ext>
                </a:extLst>
              </a:tr>
              <a:tr h="357698"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u="none" strike="noStrike">
                          <a:effectLst/>
                        </a:rPr>
                        <a:t>Sodium as Na</a:t>
                      </a:r>
                      <a:endParaRPr lang="en-SG" sz="1400" b="0" i="0" u="none" strike="noStrike">
                        <a:solidFill>
                          <a:srgbClr val="000000"/>
                        </a:solidFill>
                        <a:effectLst/>
                        <a:latin typeface="Calibri Light" panose="020F03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u="none" strike="noStrike" dirty="0">
                          <a:effectLst/>
                        </a:rPr>
                        <a:t>EPA200.7</a:t>
                      </a:r>
                      <a:endParaRPr lang="en-SG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 Light" panose="020F03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u="none" strike="noStrike">
                          <a:effectLst/>
                        </a:rPr>
                        <a:t>mg/l</a:t>
                      </a:r>
                      <a:endParaRPr lang="en-SG" sz="1400" b="0" i="0" u="none" strike="noStrike">
                        <a:solidFill>
                          <a:srgbClr val="000000"/>
                        </a:solidFill>
                        <a:effectLst/>
                        <a:latin typeface="Calibri Light" panose="020F03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u="none" strike="noStrike" dirty="0">
                          <a:effectLst/>
                        </a:rPr>
                        <a:t>790</a:t>
                      </a:r>
                      <a:endParaRPr lang="en-SG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u="none" strike="noStrike" dirty="0">
                          <a:effectLst/>
                        </a:rPr>
                        <a:t>21</a:t>
                      </a:r>
                      <a:endParaRPr lang="en-SG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1988845"/>
                  </a:ext>
                </a:extLst>
              </a:tr>
              <a:tr h="357698"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u="none" strike="noStrike" dirty="0">
                          <a:effectLst/>
                        </a:rPr>
                        <a:t>Strontium as Sr </a:t>
                      </a:r>
                      <a:endParaRPr lang="en-SG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 Light" panose="020F03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u="none" strike="noStrike" dirty="0">
                          <a:effectLst/>
                        </a:rPr>
                        <a:t>EPA200.7</a:t>
                      </a:r>
                      <a:endParaRPr lang="en-SG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 Light" panose="020F03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u="none" strike="noStrike">
                          <a:effectLst/>
                        </a:rPr>
                        <a:t>mg/l</a:t>
                      </a:r>
                      <a:endParaRPr lang="en-SG" sz="1400" b="0" i="0" u="none" strike="noStrike">
                        <a:solidFill>
                          <a:srgbClr val="000000"/>
                        </a:solidFill>
                        <a:effectLst/>
                        <a:latin typeface="Calibri Light" panose="020F03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u="none" strike="noStrike">
                          <a:effectLst/>
                        </a:rPr>
                        <a:t>0.63</a:t>
                      </a:r>
                      <a:endParaRPr lang="en-SG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u="none" strike="noStrike" dirty="0">
                          <a:effectLst/>
                        </a:rPr>
                        <a:t>7.51</a:t>
                      </a:r>
                      <a:endParaRPr lang="en-SG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u="none" strike="noStrike" dirty="0">
                          <a:effectLst/>
                        </a:rPr>
                        <a:t>&lt;0.1</a:t>
                      </a:r>
                      <a:endParaRPr lang="en-SG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60874339"/>
                  </a:ext>
                </a:extLst>
              </a:tr>
              <a:tr h="357698"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u="none" strike="noStrike" dirty="0">
                          <a:effectLst/>
                        </a:rPr>
                        <a:t>TDS</a:t>
                      </a:r>
                      <a:endParaRPr lang="en-SG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 Light" panose="020F03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u="none" strike="noStrike" dirty="0">
                          <a:effectLst/>
                        </a:rPr>
                        <a:t>APHA 2540C</a:t>
                      </a:r>
                      <a:endParaRPr lang="en-SG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 Light" panose="020F03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u="none" strike="noStrike" dirty="0">
                          <a:effectLst/>
                        </a:rPr>
                        <a:t>mg/l</a:t>
                      </a:r>
                      <a:endParaRPr lang="en-SG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 Light" panose="020F03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u="none" strike="noStrike" dirty="0">
                          <a:effectLst/>
                        </a:rPr>
                        <a:t>2,610</a:t>
                      </a:r>
                      <a:endParaRPr lang="en-SG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u="none" strike="noStrike" dirty="0">
                          <a:effectLst/>
                        </a:rPr>
                        <a:t>35,890</a:t>
                      </a:r>
                      <a:endParaRPr lang="en-SG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u="none" strike="noStrike" dirty="0">
                          <a:effectLst/>
                        </a:rPr>
                        <a:t>61.5</a:t>
                      </a:r>
                      <a:endParaRPr lang="en-SG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4624876"/>
                  </a:ext>
                </a:extLst>
              </a:tr>
              <a:tr h="357698"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pH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SG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 Light" panose="020F03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SG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 Light" panose="020F03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41792647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19EB10AA-16C7-1C66-6BB6-3B4C30B822F0}"/>
              </a:ext>
            </a:extLst>
          </p:cNvPr>
          <p:cNvSpPr txBox="1"/>
          <p:nvPr/>
        </p:nvSpPr>
        <p:spPr>
          <a:xfrm>
            <a:off x="9615744" y="6488668"/>
            <a:ext cx="24502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ermeate TDS &lt; 75mg/L</a:t>
            </a:r>
            <a:endParaRPr kumimoji="0" lang="en-SG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A71F1D78-DB66-C268-DB5A-EF276CF9B153}"/>
              </a:ext>
            </a:extLst>
          </p:cNvPr>
          <p:cNvSpPr txBox="1">
            <a:spLocks/>
          </p:cNvSpPr>
          <p:nvPr/>
        </p:nvSpPr>
        <p:spPr>
          <a:xfrm>
            <a:off x="577596" y="1324555"/>
            <a:ext cx="11488434" cy="579152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kern="0" dirty="0">
                <a:solidFill>
                  <a:schemeClr val="accent6">
                    <a:lumMod val="90000"/>
                    <a:lumOff val="10000"/>
                  </a:schemeClr>
                </a:solidFill>
              </a:rPr>
              <a:t>Concentrated TDS of Feed water from 2,610mg/L to 35,890mg/L and achieved ~92.7% recovery.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44BC1D8-A3EE-709B-191D-A6C60D55C89D}"/>
              </a:ext>
            </a:extLst>
          </p:cNvPr>
          <p:cNvSpPr txBox="1"/>
          <p:nvPr/>
        </p:nvSpPr>
        <p:spPr>
          <a:xfrm>
            <a:off x="2798618" y="6617445"/>
            <a:ext cx="588356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SG" sz="1000" dirty="0"/>
              <a:t>Rechecking the silica value</a:t>
            </a:r>
          </a:p>
        </p:txBody>
      </p:sp>
    </p:spTree>
    <p:extLst>
      <p:ext uri="{BB962C8B-B14F-4D97-AF65-F5344CB8AC3E}">
        <p14:creationId xmlns:p14="http://schemas.microsoft.com/office/powerpoint/2010/main" val="72974812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B6C5B0B-C595-4479-BA92-AE99996A903C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 smtClean="0">
                <a:ln>
                  <a:noFill/>
                </a:ln>
                <a:solidFill>
                  <a:srgbClr val="7FCA20"/>
                </a:solidFill>
                <a:effectLst/>
                <a:uLnTx/>
                <a:uFillTx/>
                <a:latin typeface="IBM Plex Sans"/>
                <a:sym typeface="IBM Plex San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" sz="1600" b="0" i="0" u="none" strike="noStrike" kern="1200" cap="none" spc="0" normalizeH="0" baseline="0" noProof="0">
              <a:ln>
                <a:noFill/>
              </a:ln>
              <a:solidFill>
                <a:srgbClr val="7FCA20"/>
              </a:solidFill>
              <a:effectLst/>
              <a:uLnTx/>
              <a:uFillTx/>
              <a:latin typeface="IBM Plex Sans"/>
              <a:sym typeface="IBM Plex San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402C1FA-75A3-4F2B-AF7C-E705A74C675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74261" y="2064208"/>
            <a:ext cx="5943006" cy="1419224"/>
          </a:xfrm>
        </p:spPr>
        <p:txBody>
          <a:bodyPr/>
          <a:lstStyle/>
          <a:p>
            <a:br>
              <a:rPr lang="en-US" sz="3600" dirty="0"/>
            </a:br>
            <a:r>
              <a:rPr lang="en-US" sz="3600" dirty="0"/>
              <a:t>Experiments: SCE Stage 2</a:t>
            </a:r>
            <a:br>
              <a:rPr lang="en-US" dirty="0"/>
            </a:br>
            <a:br>
              <a:rPr lang="en-US" dirty="0"/>
            </a:br>
            <a:r>
              <a:rPr lang="en-US" dirty="0"/>
              <a:t>Scheme followed: </a:t>
            </a:r>
            <a:br>
              <a:rPr lang="en-US" dirty="0"/>
            </a:br>
            <a:r>
              <a:rPr lang="en-US" dirty="0"/>
              <a:t>	</a:t>
            </a:r>
            <a:r>
              <a:rPr lang="en-US" sz="3200" dirty="0"/>
              <a:t>- </a:t>
            </a:r>
            <a:r>
              <a:rPr lang="en-US" sz="2800" dirty="0"/>
              <a:t>Jar Testing</a:t>
            </a:r>
            <a:br>
              <a:rPr lang="en-US" dirty="0"/>
            </a:br>
            <a:endParaRPr lang="en-SG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236A6E4-9D7C-0F75-817E-B88F3CAEE0F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391" t="10901" r="3809" b="7211"/>
          <a:stretch/>
        </p:blipFill>
        <p:spPr>
          <a:xfrm>
            <a:off x="9564935" y="1056675"/>
            <a:ext cx="1675764" cy="2015065"/>
          </a:xfrm>
          <a:prstGeom prst="rect">
            <a:avLst/>
          </a:prstGeom>
        </p:spPr>
      </p:pic>
      <p:pic>
        <p:nvPicPr>
          <p:cNvPr id="4" name="Picture 3" descr="A picture containing indoor, several&#10;&#10;Description automatically generated">
            <a:extLst>
              <a:ext uri="{FF2B5EF4-FFF2-40B4-BE49-F238E27FC236}">
                <a16:creationId xmlns:a16="http://schemas.microsoft.com/office/drawing/2014/main" id="{7A58134E-F201-41C7-9F0D-F51F094CF42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9651" y="3246895"/>
            <a:ext cx="4814807" cy="3611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334520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E9A0EA-E270-4F13-95AC-891526D65F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32120" y="240366"/>
            <a:ext cx="8035600" cy="1084000"/>
          </a:xfr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r>
              <a:rPr lang="en-US" dirty="0"/>
              <a:t> SCE stage 2: Jar Testing protocols </a:t>
            </a:r>
            <a:endParaRPr lang="en-SG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495601B-DA81-411E-9277-B25FF36453C0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 smtClean="0">
                <a:ln>
                  <a:noFill/>
                </a:ln>
                <a:solidFill>
                  <a:srgbClr val="757C83"/>
                </a:solidFill>
                <a:effectLst/>
                <a:uLnTx/>
                <a:uFillTx/>
                <a:latin typeface="IBM Plex Sans"/>
                <a:sym typeface="IBM Plex San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" sz="1600" b="0" i="0" u="none" strike="noStrike" kern="1200" cap="none" spc="0" normalizeH="0" baseline="0" noProof="0">
              <a:ln>
                <a:noFill/>
              </a:ln>
              <a:solidFill>
                <a:srgbClr val="757C83"/>
              </a:solidFill>
              <a:effectLst/>
              <a:uLnTx/>
              <a:uFillTx/>
              <a:latin typeface="IBM Plex Sans"/>
              <a:sym typeface="IBM Plex San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7664922-2276-4503-828B-744E18B87A78}"/>
              </a:ext>
            </a:extLst>
          </p:cNvPr>
          <p:cNvSpPr/>
          <p:nvPr/>
        </p:nvSpPr>
        <p:spPr>
          <a:xfrm>
            <a:off x="176169" y="6207853"/>
            <a:ext cx="2155970" cy="5756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SG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C32AFBB-47D6-4E84-AEAB-A94523F67CF5}"/>
              </a:ext>
            </a:extLst>
          </p:cNvPr>
          <p:cNvSpPr txBox="1">
            <a:spLocks/>
          </p:cNvSpPr>
          <p:nvPr/>
        </p:nvSpPr>
        <p:spPr>
          <a:xfrm>
            <a:off x="898255" y="1484167"/>
            <a:ext cx="10871249" cy="501148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just" defTabSz="914400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beaker of 500ml of synthetic water is dosed </a:t>
            </a:r>
            <a:r>
              <a:rPr lang="en-US" sz="1800" dirty="0">
                <a:solidFill>
                  <a:sysClr val="windowText" lastClr="000000"/>
                </a:solidFill>
                <a:latin typeface="Calibri" panose="020F0502020204030204"/>
              </a:rPr>
              <a:t>with different concentrations of lime, MgCl2, and Na2CO3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just" defTabSz="914400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ce the dosage of both was, the mixture was rapidly mixed (200 rpm) for the 30s, &amp; followed by slow mixing (100 rpm) for </a:t>
            </a:r>
            <a:r>
              <a:rPr lang="en-US" sz="1800" dirty="0">
                <a:solidFill>
                  <a:sysClr val="windowText" lastClr="000000"/>
                </a:solidFill>
                <a:latin typeface="Calibri" panose="020F0502020204030204"/>
              </a:rPr>
              <a:t>45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in, and pH was measured and adjusted to 10.5 every 15 min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 mg/L of SNF polymer (anionic) was dosed and further slower mix (3</a:t>
            </a:r>
            <a:r>
              <a:rPr lang="en-US" sz="1800" dirty="0">
                <a:solidFill>
                  <a:sysClr val="windowText" lastClr="000000"/>
                </a:solidFill>
                <a:latin typeface="Calibri" panose="020F0502020204030204"/>
              </a:rPr>
              <a:t>0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rpm) for </a:t>
            </a:r>
            <a:r>
              <a:rPr lang="en-US" sz="1800" dirty="0">
                <a:solidFill>
                  <a:sysClr val="windowText" lastClr="000000"/>
                </a:solidFill>
                <a:latin typeface="Calibri" panose="020F0502020204030204"/>
              </a:rPr>
              <a:t>45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in. pH was measured every 15 min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ixing was stopped and the solids were left to settle for over 90 min, allowing the sludge to settle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1800" dirty="0">
                <a:solidFill>
                  <a:sysClr val="windowText" lastClr="000000"/>
                </a:solidFill>
                <a:latin typeface="Calibri" panose="020F0502020204030204"/>
              </a:rPr>
              <a:t>The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pernatant and sludge were collected for analysis</a:t>
            </a:r>
          </a:p>
        </p:txBody>
      </p:sp>
    </p:spTree>
    <p:extLst>
      <p:ext uri="{BB962C8B-B14F-4D97-AF65-F5344CB8AC3E}">
        <p14:creationId xmlns:p14="http://schemas.microsoft.com/office/powerpoint/2010/main" val="304893721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F63A47-E976-6D55-CD30-FFCA14F048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erimental pictures: Jar Testing stage 2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92927F2-B5BB-C124-DC32-63080CB2E5EE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" smtClean="0"/>
              <a:pPr/>
              <a:t>18</a:t>
            </a:fld>
            <a:endParaRPr lang="en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E7346F2-4731-B3DF-10CB-03BE15856FB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0809" y="1867564"/>
            <a:ext cx="2342153" cy="3122871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A9F13DA2-CE98-3D55-DEF1-B436BA272912}"/>
              </a:ext>
            </a:extLst>
          </p:cNvPr>
          <p:cNvSpPr txBox="1"/>
          <p:nvPr/>
        </p:nvSpPr>
        <p:spPr>
          <a:xfrm>
            <a:off x="763325" y="5142078"/>
            <a:ext cx="239963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tx2">
                    <a:lumMod val="10000"/>
                  </a:schemeClr>
                </a:solidFill>
              </a:rPr>
              <a:t>Feed Water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780BE21-996F-E466-DE7F-9EB63154DCD3}"/>
              </a:ext>
            </a:extLst>
          </p:cNvPr>
          <p:cNvSpPr txBox="1"/>
          <p:nvPr/>
        </p:nvSpPr>
        <p:spPr>
          <a:xfrm>
            <a:off x="3553819" y="5142078"/>
            <a:ext cx="239963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tx2">
                    <a:lumMod val="10000"/>
                  </a:schemeClr>
                </a:solidFill>
              </a:rPr>
              <a:t>Chemicals were weighed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4A47D63-9BC6-929B-5AC1-794F60E012DC}"/>
              </a:ext>
            </a:extLst>
          </p:cNvPr>
          <p:cNvSpPr txBox="1"/>
          <p:nvPr/>
        </p:nvSpPr>
        <p:spPr>
          <a:xfrm>
            <a:off x="6339042" y="5121398"/>
            <a:ext cx="239963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tx2">
                    <a:lumMod val="10000"/>
                  </a:schemeClr>
                </a:solidFill>
              </a:rPr>
              <a:t>Sludge was left for settle for &gt;90min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574ED7C-88C5-1CAA-E515-70D11A8193EF}"/>
              </a:ext>
            </a:extLst>
          </p:cNvPr>
          <p:cNvSpPr txBox="1"/>
          <p:nvPr/>
        </p:nvSpPr>
        <p:spPr>
          <a:xfrm>
            <a:off x="9706722" y="5142078"/>
            <a:ext cx="239963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tx2">
                    <a:lumMod val="10000"/>
                  </a:schemeClr>
                </a:solidFill>
              </a:rPr>
              <a:t>Supernatant was collected, filtered, and sent for analysi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B114D0C-DB5E-0DC3-C986-620537A785B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05228" y="1899305"/>
            <a:ext cx="2333675" cy="311156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DB37FB1E-1328-DC32-A7E9-661C1B50A13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62802" t="33836" r="3487" b="19314"/>
          <a:stretch/>
        </p:blipFill>
        <p:spPr>
          <a:xfrm>
            <a:off x="6096000" y="1872076"/>
            <a:ext cx="1682868" cy="311836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4954B660-F364-9522-5A0A-77D591E94788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34515" t="12705" r="30926" b="8427"/>
          <a:stretch/>
        </p:blipFill>
        <p:spPr>
          <a:xfrm>
            <a:off x="7778868" y="1872074"/>
            <a:ext cx="1821868" cy="311836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D646624-CFA7-A00A-BD45-983039E1EC10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5343" r="9686" b="8805"/>
          <a:stretch/>
        </p:blipFill>
        <p:spPr>
          <a:xfrm>
            <a:off x="9600736" y="1867563"/>
            <a:ext cx="2591264" cy="3122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134209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E9A0EA-E270-4F13-95AC-891526D65F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09239" y="251343"/>
            <a:ext cx="6633924" cy="1084000"/>
          </a:xfrm>
          <a:noFill/>
        </p:spPr>
        <p:txBody>
          <a:bodyPr/>
          <a:lstStyle/>
          <a:p>
            <a:r>
              <a:rPr lang="en-US" dirty="0"/>
              <a:t>SCE STAGE 2- Jar Testing Treated Water Analysis</a:t>
            </a:r>
            <a:endParaRPr lang="en-SG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495601B-DA81-411E-9277-B25FF36453C0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 smtClean="0">
                <a:ln>
                  <a:noFill/>
                </a:ln>
                <a:solidFill>
                  <a:srgbClr val="757C83"/>
                </a:solidFill>
                <a:effectLst/>
                <a:uLnTx/>
                <a:uFillTx/>
                <a:latin typeface="IBM Plex Sans"/>
                <a:sym typeface="IBM Plex San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" sz="1600" b="0" i="0" u="none" strike="noStrike" kern="1200" cap="none" spc="0" normalizeH="0" baseline="0" noProof="0">
              <a:ln>
                <a:noFill/>
              </a:ln>
              <a:solidFill>
                <a:srgbClr val="757C83"/>
              </a:solidFill>
              <a:effectLst/>
              <a:uLnTx/>
              <a:uFillTx/>
              <a:latin typeface="IBM Plex Sans"/>
              <a:sym typeface="IBM Plex San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EC17181-07FB-4823-7FA5-0C324071A861}"/>
              </a:ext>
            </a:extLst>
          </p:cNvPr>
          <p:cNvSpPr txBox="1"/>
          <p:nvPr/>
        </p:nvSpPr>
        <p:spPr>
          <a:xfrm>
            <a:off x="910763" y="5380672"/>
            <a:ext cx="11433637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Different chemical dosages were tested and successfully reduced silica to ~23ppm</a:t>
            </a:r>
          </a:p>
          <a:p>
            <a:endParaRPr lang="en-US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Dosage was varied from 500 to 1200 mg/l of MgCl2 etc.,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8822BE4C-FEF4-05FB-60D4-A83AFF85CFD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703531"/>
              </p:ext>
            </p:extLst>
          </p:nvPr>
        </p:nvGraphicFramePr>
        <p:xfrm>
          <a:off x="910763" y="1603505"/>
          <a:ext cx="10499270" cy="35803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99854">
                  <a:extLst>
                    <a:ext uri="{9D8B030D-6E8A-4147-A177-3AD203B41FA5}">
                      <a16:colId xmlns:a16="http://schemas.microsoft.com/office/drawing/2014/main" val="2633651091"/>
                    </a:ext>
                  </a:extLst>
                </a:gridCol>
                <a:gridCol w="2099854">
                  <a:extLst>
                    <a:ext uri="{9D8B030D-6E8A-4147-A177-3AD203B41FA5}">
                      <a16:colId xmlns:a16="http://schemas.microsoft.com/office/drawing/2014/main" val="550138351"/>
                    </a:ext>
                  </a:extLst>
                </a:gridCol>
                <a:gridCol w="2099854">
                  <a:extLst>
                    <a:ext uri="{9D8B030D-6E8A-4147-A177-3AD203B41FA5}">
                      <a16:colId xmlns:a16="http://schemas.microsoft.com/office/drawing/2014/main" val="3476529917"/>
                    </a:ext>
                  </a:extLst>
                </a:gridCol>
                <a:gridCol w="2099854">
                  <a:extLst>
                    <a:ext uri="{9D8B030D-6E8A-4147-A177-3AD203B41FA5}">
                      <a16:colId xmlns:a16="http://schemas.microsoft.com/office/drawing/2014/main" val="3412459669"/>
                    </a:ext>
                  </a:extLst>
                </a:gridCol>
                <a:gridCol w="2099854">
                  <a:extLst>
                    <a:ext uri="{9D8B030D-6E8A-4147-A177-3AD203B41FA5}">
                      <a16:colId xmlns:a16="http://schemas.microsoft.com/office/drawing/2014/main" val="1848881149"/>
                    </a:ext>
                  </a:extLst>
                </a:gridCol>
              </a:tblGrid>
              <a:tr h="447547">
                <a:tc>
                  <a:txBody>
                    <a:bodyPr/>
                    <a:lstStyle/>
                    <a:p>
                      <a:pPr algn="ctr"/>
                      <a:r>
                        <a:rPr lang="en-SG" sz="1400" b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Paramete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Unit</a:t>
                      </a:r>
                      <a:endParaRPr lang="en-SG" sz="1400" b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Synthetic Feed</a:t>
                      </a:r>
                      <a:endParaRPr lang="en-SG" sz="1400" b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Filtered Supernatant (</a:t>
                      </a:r>
                      <a:r>
                        <a:rPr lang="sv-SE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Dosing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Filtered Supernatant (Dosing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4107015"/>
                  </a:ext>
                </a:extLst>
              </a:tr>
              <a:tr h="447547"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u="none" strike="noStrike" dirty="0">
                          <a:effectLst/>
                          <a:latin typeface="+mj-lt"/>
                        </a:rPr>
                        <a:t>pH</a:t>
                      </a:r>
                      <a:endParaRPr lang="en-SG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58" marR="8258" marT="82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899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SG" sz="1400" b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7824" marR="7824" marT="78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u="none" strike="noStrike" dirty="0">
                          <a:effectLst/>
                          <a:latin typeface="+mj-lt"/>
                        </a:rPr>
                        <a:t>7.93</a:t>
                      </a:r>
                      <a:endParaRPr lang="en-SG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58" marR="8258" marT="82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u="none" strike="noStrike" dirty="0">
                          <a:effectLst/>
                          <a:latin typeface="+mj-lt"/>
                        </a:rPr>
                        <a:t>10.36</a:t>
                      </a:r>
                      <a:endParaRPr lang="en-SG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58" marR="8258" marT="82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u="none" strike="noStrike" dirty="0">
                          <a:effectLst/>
                          <a:latin typeface="+mj-lt"/>
                        </a:rPr>
                        <a:t>10.62</a:t>
                      </a:r>
                      <a:endParaRPr lang="en-SG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58" marR="8258" marT="82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7056011"/>
                  </a:ext>
                </a:extLst>
              </a:tr>
              <a:tr h="447547"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>
                          <a:latin typeface="+mj-lt"/>
                          <a:ea typeface="Verdana" panose="020B0604030504040204" pitchFamily="34" charset="0"/>
                        </a:rPr>
                        <a:t>Total Silica as SiO</a:t>
                      </a:r>
                      <a:r>
                        <a:rPr lang="en-US" sz="1400" b="0" baseline="-25000" dirty="0">
                          <a:latin typeface="+mj-lt"/>
                          <a:ea typeface="Verdana" panose="020B0604030504040204" pitchFamily="34" charset="0"/>
                        </a:rPr>
                        <a:t>2</a:t>
                      </a:r>
                      <a:endParaRPr lang="en-SG" sz="1400" b="0" baseline="-25000" dirty="0">
                        <a:latin typeface="+mj-lt"/>
                        <a:ea typeface="Verdana" panose="020B060403050404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8995" rtl="0" eaLnBrk="1" fontAlgn="ctr" latinLnBrk="0" hangingPunct="1"/>
                      <a:r>
                        <a:rPr lang="en-SG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mg/l</a:t>
                      </a:r>
                    </a:p>
                  </a:txBody>
                  <a:tcPr marL="7824" marR="7824" marT="78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Verdana" panose="020B0604030504040204" pitchFamily="34" charset="0"/>
                        </a:rPr>
                        <a:t>2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Verdana" panose="020B0604030504040204" pitchFamily="34" charset="0"/>
                        </a:rPr>
                        <a:t>43.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Verdana" panose="020B0604030504040204" pitchFamily="34" charset="0"/>
                        </a:rPr>
                        <a:t>23.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9027911"/>
                  </a:ext>
                </a:extLst>
              </a:tr>
              <a:tr h="447547"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u="none" strike="noStrike" dirty="0">
                          <a:effectLst/>
                          <a:latin typeface="+mj-lt"/>
                        </a:rPr>
                        <a:t>Fluoride as F</a:t>
                      </a:r>
                      <a:endParaRPr lang="en-SG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58" marR="8258" marT="82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8995" rtl="0" eaLnBrk="1" fontAlgn="ctr" latinLnBrk="0" hangingPunct="1"/>
                      <a:r>
                        <a:rPr lang="en-SG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mg/l</a:t>
                      </a:r>
                    </a:p>
                  </a:txBody>
                  <a:tcPr marL="7824" marR="7824" marT="78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u="none" strike="noStrike" dirty="0">
                          <a:effectLst/>
                          <a:latin typeface="+mj-lt"/>
                        </a:rPr>
                        <a:t>59.9</a:t>
                      </a:r>
                      <a:endParaRPr lang="en-SG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58" marR="8258" marT="82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u="none" strike="noStrike" dirty="0">
                          <a:effectLst/>
                          <a:latin typeface="+mj-lt"/>
                        </a:rPr>
                        <a:t>16.8</a:t>
                      </a:r>
                      <a:endParaRPr lang="en-SG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58" marR="8258" marT="82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u="none" strike="noStrike" dirty="0">
                          <a:effectLst/>
                          <a:latin typeface="+mj-lt"/>
                        </a:rPr>
                        <a:t>16.9</a:t>
                      </a:r>
                      <a:endParaRPr lang="en-SG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58" marR="8258" marT="82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1040126"/>
                  </a:ext>
                </a:extLst>
              </a:tr>
              <a:tr h="447547"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u="none" strike="noStrike" dirty="0">
                          <a:effectLst/>
                          <a:latin typeface="+mj-lt"/>
                        </a:rPr>
                        <a:t>Calcium as Ca</a:t>
                      </a:r>
                      <a:endParaRPr lang="en-SG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58" marR="8258" marT="82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8995" rtl="0" eaLnBrk="1" fontAlgn="ctr" latinLnBrk="0" hangingPunct="1"/>
                      <a:r>
                        <a:rPr lang="en-SG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mg/l</a:t>
                      </a:r>
                    </a:p>
                  </a:txBody>
                  <a:tcPr marL="7824" marR="7824" marT="78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u="none" strike="noStrike" dirty="0">
                          <a:effectLst/>
                          <a:latin typeface="+mj-lt"/>
                        </a:rPr>
                        <a:t>709</a:t>
                      </a:r>
                      <a:endParaRPr lang="en-SG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58" marR="8258" marT="82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u="none" strike="noStrike" dirty="0">
                          <a:effectLst/>
                          <a:latin typeface="+mj-lt"/>
                        </a:rPr>
                        <a:t>38</a:t>
                      </a:r>
                      <a:endParaRPr lang="en-SG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58" marR="8258" marT="82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SG" sz="1400" u="none" strike="noStrike" dirty="0">
                          <a:effectLst/>
                          <a:latin typeface="+mj-lt"/>
                        </a:rPr>
                        <a:t>32.6</a:t>
                      </a:r>
                      <a:endParaRPr lang="en-SG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58" marR="8258" marT="82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3801955"/>
                  </a:ext>
                </a:extLst>
              </a:tr>
              <a:tr h="447547"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u="none" strike="noStrike" dirty="0">
                          <a:effectLst/>
                          <a:latin typeface="+mj-lt"/>
                        </a:rPr>
                        <a:t>Potassium as K </a:t>
                      </a:r>
                      <a:endParaRPr lang="en-SG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58" marR="8258" marT="82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8995" rtl="0" eaLnBrk="1" fontAlgn="ctr" latinLnBrk="0" hangingPunct="1"/>
                      <a:r>
                        <a:rPr lang="en-SG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mg/l</a:t>
                      </a:r>
                    </a:p>
                  </a:txBody>
                  <a:tcPr marL="7824" marR="7824" marT="78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u="none" strike="noStrike" dirty="0">
                          <a:effectLst/>
                          <a:latin typeface="+mj-lt"/>
                        </a:rPr>
                        <a:t>119.5</a:t>
                      </a:r>
                      <a:endParaRPr lang="en-SG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58" marR="8258" marT="82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u="none" strike="noStrike" dirty="0">
                          <a:effectLst/>
                          <a:latin typeface="+mj-lt"/>
                        </a:rPr>
                        <a:t>114</a:t>
                      </a:r>
                      <a:endParaRPr lang="en-SG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58" marR="8258" marT="82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u="none" strike="noStrike" dirty="0">
                          <a:effectLst/>
                          <a:latin typeface="+mj-lt"/>
                        </a:rPr>
                        <a:t>116</a:t>
                      </a:r>
                      <a:endParaRPr lang="en-SG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58" marR="8258" marT="82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5674269"/>
                  </a:ext>
                </a:extLst>
              </a:tr>
              <a:tr h="447547"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u="none" strike="noStrike" dirty="0">
                          <a:effectLst/>
                          <a:latin typeface="+mj-lt"/>
                        </a:rPr>
                        <a:t>Sodium as Na</a:t>
                      </a:r>
                      <a:endParaRPr lang="en-SG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58" marR="8258" marT="82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8995" rtl="0" eaLnBrk="1" fontAlgn="ctr" latinLnBrk="0" hangingPunct="1"/>
                      <a:r>
                        <a:rPr lang="en-SG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mg/l</a:t>
                      </a:r>
                    </a:p>
                  </a:txBody>
                  <a:tcPr marL="7824" marR="7824" marT="78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u="none" strike="noStrike" dirty="0">
                          <a:effectLst/>
                          <a:latin typeface="+mj-lt"/>
                        </a:rPr>
                        <a:t>10,200</a:t>
                      </a:r>
                      <a:endParaRPr lang="en-SG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58" marR="8258" marT="82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SG" sz="1400" u="none" strike="noStrike" dirty="0">
                          <a:effectLst/>
                          <a:latin typeface="+mj-lt"/>
                        </a:rPr>
                        <a:t>15,830</a:t>
                      </a:r>
                      <a:endParaRPr lang="en-SG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58" marR="8258" marT="82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SG" sz="1400" u="none" strike="noStrike" dirty="0">
                          <a:effectLst/>
                          <a:latin typeface="+mj-lt"/>
                        </a:rPr>
                        <a:t>17,900</a:t>
                      </a:r>
                      <a:endParaRPr lang="en-SG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58" marR="8258" marT="82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1106408"/>
                  </a:ext>
                </a:extLst>
              </a:tr>
              <a:tr h="447547"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u="none" strike="noStrike" dirty="0">
                          <a:effectLst/>
                          <a:latin typeface="+mj-lt"/>
                        </a:rPr>
                        <a:t>Strontium as Sr </a:t>
                      </a:r>
                      <a:endParaRPr lang="en-SG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58" marR="8258" marT="82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8995" rtl="0" eaLnBrk="1" fontAlgn="ctr" latinLnBrk="0" hangingPunct="1"/>
                      <a:r>
                        <a:rPr lang="en-SG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mg/l</a:t>
                      </a:r>
                    </a:p>
                  </a:txBody>
                  <a:tcPr marL="7824" marR="7824" marT="78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u="none" strike="noStrike" dirty="0">
                          <a:effectLst/>
                          <a:latin typeface="+mj-lt"/>
                        </a:rPr>
                        <a:t>2.95</a:t>
                      </a:r>
                      <a:endParaRPr lang="en-SG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58" marR="8258" marT="82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SG" sz="1400" u="none" strike="noStrike" dirty="0">
                          <a:effectLst/>
                          <a:latin typeface="+mj-lt"/>
                        </a:rPr>
                        <a:t>0.25</a:t>
                      </a:r>
                      <a:endParaRPr lang="en-SG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  <a:p>
                      <a:pPr algn="ctr" fontAlgn="ctr"/>
                      <a:endParaRPr lang="en-SG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58" marR="8258" marT="82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u="none" strike="noStrike" dirty="0">
                          <a:effectLst/>
                          <a:latin typeface="+mj-lt"/>
                        </a:rPr>
                        <a:t>0.27</a:t>
                      </a:r>
                      <a:endParaRPr lang="en-SG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58" marR="8258" marT="82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778945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7085568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09FB5D6F-7BA1-49FF-B029-BBBA846CDE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52903" y="82507"/>
            <a:ext cx="9629497" cy="1143000"/>
          </a:xfrm>
        </p:spPr>
        <p:txBody>
          <a:bodyPr anchor="ctr">
            <a:normAutofit/>
          </a:bodyPr>
          <a:lstStyle/>
          <a:p>
            <a:r>
              <a:rPr lang="en-US" b="1" dirty="0"/>
              <a:t>INFLUENT WASTEWATER QUALIT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4EBB35-76D0-495A-AFFC-1C2958C2EBA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088768" y="6207206"/>
            <a:ext cx="2493631" cy="365125"/>
          </a:xfrm>
        </p:spPr>
        <p:txBody>
          <a:bodyPr wrap="square" anchor="ctr">
            <a:norm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Helvetica Neue Light"/>
              <a:ea typeface="+mn-ea"/>
            </a:endParaRPr>
          </a:p>
          <a:p>
            <a:pPr marL="0" marR="0" lvl="0" indent="0" algn="ctr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2FD824EB-FD9A-456A-ADCA-8E4DF56EFC79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Helvetica Neue Light"/>
                <a:ea typeface="+mn-ea"/>
              </a:rPr>
              <a:pPr marL="0" marR="0" lvl="0" indent="0" algn="ctr" defTabSz="4572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Helvetica Neue Light"/>
              <a:ea typeface="+mn-ea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CD565EE-AF42-84DA-F0A2-476EA75B4F5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63573" y="1028538"/>
            <a:ext cx="6408156" cy="5746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248163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B6C5B0B-C595-4479-BA92-AE99996A903C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 smtClean="0">
                <a:ln>
                  <a:noFill/>
                </a:ln>
                <a:solidFill>
                  <a:srgbClr val="7FCA20"/>
                </a:solidFill>
                <a:effectLst/>
                <a:uLnTx/>
                <a:uFillTx/>
                <a:latin typeface="IBM Plex Sans"/>
                <a:sym typeface="IBM Plex San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" sz="1600" b="0" i="0" u="none" strike="noStrike" kern="1200" cap="none" spc="0" normalizeH="0" baseline="0" noProof="0">
              <a:ln>
                <a:noFill/>
              </a:ln>
              <a:solidFill>
                <a:srgbClr val="7FCA20"/>
              </a:solidFill>
              <a:effectLst/>
              <a:uLnTx/>
              <a:uFillTx/>
              <a:latin typeface="IBM Plex Sans"/>
              <a:sym typeface="IBM Plex San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402C1FA-75A3-4F2B-AF7C-E705A74C675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74261" y="2064208"/>
            <a:ext cx="6664212" cy="1419224"/>
          </a:xfrm>
        </p:spPr>
        <p:txBody>
          <a:bodyPr/>
          <a:lstStyle/>
          <a:p>
            <a:br>
              <a:rPr lang="en-US" sz="3600" dirty="0"/>
            </a:br>
            <a:r>
              <a:rPr lang="en-US" sz="3600" dirty="0"/>
              <a:t>Experiments: CFRO</a:t>
            </a:r>
            <a:br>
              <a:rPr lang="en-US" dirty="0"/>
            </a:br>
            <a:br>
              <a:rPr lang="en-US" dirty="0"/>
            </a:br>
            <a:r>
              <a:rPr lang="en-US" dirty="0"/>
              <a:t>Scheme followed: </a:t>
            </a:r>
            <a:br>
              <a:rPr lang="en-US" dirty="0"/>
            </a:br>
            <a:r>
              <a:rPr lang="en-US" dirty="0"/>
              <a:t>	</a:t>
            </a:r>
            <a:r>
              <a:rPr lang="en-US" sz="3200" dirty="0"/>
              <a:t>- </a:t>
            </a:r>
            <a:r>
              <a:rPr lang="en-US" sz="2800" dirty="0"/>
              <a:t>CFRO membrane testing</a:t>
            </a:r>
            <a:br>
              <a:rPr lang="en-US" dirty="0"/>
            </a:br>
            <a:endParaRPr lang="en-SG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236A6E4-9D7C-0F75-817E-B88F3CAEE0F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391" t="10901" r="3809" b="7211"/>
          <a:stretch/>
        </p:blipFill>
        <p:spPr>
          <a:xfrm>
            <a:off x="9564935" y="1056675"/>
            <a:ext cx="1675764" cy="2015065"/>
          </a:xfrm>
          <a:prstGeom prst="rect">
            <a:avLst/>
          </a:prstGeom>
        </p:spPr>
      </p:pic>
      <p:pic>
        <p:nvPicPr>
          <p:cNvPr id="4" name="Picture 3" descr="A close up of a device&#10;&#10;Description automatically generated">
            <a:extLst>
              <a:ext uri="{FF2B5EF4-FFF2-40B4-BE49-F238E27FC236}">
                <a16:creationId xmlns:a16="http://schemas.microsoft.com/office/drawing/2014/main" id="{13C09616-1BC7-D195-F979-637A88FC950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700000">
            <a:off x="6516775" y="3769659"/>
            <a:ext cx="1382031" cy="1382031"/>
          </a:xfrm>
          <a:prstGeom prst="rect">
            <a:avLst/>
          </a:prstGeom>
        </p:spPr>
      </p:pic>
      <p:pic>
        <p:nvPicPr>
          <p:cNvPr id="7" name="Picture 6" descr="A close up of a device&#10;&#10;Description automatically generated">
            <a:extLst>
              <a:ext uri="{FF2B5EF4-FFF2-40B4-BE49-F238E27FC236}">
                <a16:creationId xmlns:a16="http://schemas.microsoft.com/office/drawing/2014/main" id="{733E03E1-01DA-F9BC-EB96-1B0DF0D2708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700000">
            <a:off x="8398960" y="4076318"/>
            <a:ext cx="1032919" cy="1032919"/>
          </a:xfrm>
          <a:prstGeom prst="rect">
            <a:avLst/>
          </a:prstGeom>
        </p:spPr>
      </p:pic>
      <p:pic>
        <p:nvPicPr>
          <p:cNvPr id="8" name="Picture 7" descr="A close up of a device&#10;&#10;Description automatically generated">
            <a:extLst>
              <a:ext uri="{FF2B5EF4-FFF2-40B4-BE49-F238E27FC236}">
                <a16:creationId xmlns:a16="http://schemas.microsoft.com/office/drawing/2014/main" id="{BF718B16-4C3C-313D-0E38-4A764BC113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700000">
            <a:off x="10163189" y="4191074"/>
            <a:ext cx="1032919" cy="1032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315588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35794B9-D724-442E-A06A-C35B834745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SG" dirty="0"/>
              <a:t>CFRO membrane lab setup</a:t>
            </a:r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93DF1293-B07D-ADEE-AFA1-CD5B301E1E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50865" y="1570182"/>
            <a:ext cx="3760767" cy="47288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3">
            <a:extLst>
              <a:ext uri="{FF2B5EF4-FFF2-40B4-BE49-F238E27FC236}">
                <a16:creationId xmlns:a16="http://schemas.microsoft.com/office/drawing/2014/main" id="{31B9A583-3B8B-327B-57A7-F4A14F5778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8112" y="1570182"/>
            <a:ext cx="3327739" cy="47288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DF73EAA1-61AF-66E3-49BA-4071A4DC308D}"/>
              </a:ext>
            </a:extLst>
          </p:cNvPr>
          <p:cNvSpPr txBox="1"/>
          <p:nvPr/>
        </p:nvSpPr>
        <p:spPr>
          <a:xfrm>
            <a:off x="3170273" y="4679483"/>
            <a:ext cx="821299" cy="369332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r>
              <a:rPr lang="en-SG" dirty="0"/>
              <a:t>Feed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CD47B82-27D8-4816-18AF-6F0B26AB551C}"/>
              </a:ext>
            </a:extLst>
          </p:cNvPr>
          <p:cNvSpPr txBox="1"/>
          <p:nvPr/>
        </p:nvSpPr>
        <p:spPr>
          <a:xfrm>
            <a:off x="3864824" y="6008650"/>
            <a:ext cx="1608756" cy="369332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r>
              <a:rPr lang="en-SG" dirty="0"/>
              <a:t>Permeate</a:t>
            </a: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BD82E19-5580-496D-4703-28E29FDBA375}"/>
              </a:ext>
            </a:extLst>
          </p:cNvPr>
          <p:cNvSpPr txBox="1">
            <a:spLocks/>
          </p:cNvSpPr>
          <p:nvPr/>
        </p:nvSpPr>
        <p:spPr>
          <a:xfrm>
            <a:off x="6096000" y="5287818"/>
            <a:ext cx="4996064" cy="101017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defTabSz="1218995">
              <a:spcBef>
                <a:spcPct val="20000"/>
              </a:spcBef>
            </a:pPr>
            <a:r>
              <a:rPr lang="en-SG" kern="0" dirty="0">
                <a:solidFill>
                  <a:schemeClr val="accent6">
                    <a:lumMod val="90000"/>
                    <a:lumOff val="10000"/>
                  </a:schemeClr>
                </a:solidFill>
                <a:ea typeface="Verdana" panose="020B0604030504040204" pitchFamily="34" charset="0"/>
              </a:rPr>
              <a:t>Operating parameters:</a:t>
            </a:r>
          </a:p>
          <a:p>
            <a:pPr defTabSz="1218995">
              <a:spcBef>
                <a:spcPct val="20000"/>
              </a:spcBef>
            </a:pPr>
            <a:r>
              <a:rPr lang="en-SG" kern="0" dirty="0">
                <a:solidFill>
                  <a:schemeClr val="accent6">
                    <a:lumMod val="90000"/>
                    <a:lumOff val="10000"/>
                  </a:schemeClr>
                </a:solidFill>
                <a:ea typeface="Verdana" panose="020B0604030504040204" pitchFamily="34" charset="0"/>
              </a:rPr>
              <a:t>Feed flow: 200 ml/min</a:t>
            </a:r>
          </a:p>
          <a:p>
            <a:pPr defTabSz="1218995">
              <a:spcBef>
                <a:spcPct val="20000"/>
              </a:spcBef>
            </a:pPr>
            <a:r>
              <a:rPr lang="en-SG" kern="0" dirty="0">
                <a:solidFill>
                  <a:schemeClr val="accent6">
                    <a:lumMod val="90000"/>
                    <a:lumOff val="10000"/>
                  </a:schemeClr>
                </a:solidFill>
                <a:ea typeface="Verdana" panose="020B0604030504040204" pitchFamily="34" charset="0"/>
              </a:rPr>
              <a:t>Feed operating pressure: 1000 psi</a:t>
            </a:r>
          </a:p>
        </p:txBody>
      </p:sp>
    </p:spTree>
    <p:extLst>
      <p:ext uri="{BB962C8B-B14F-4D97-AF65-F5344CB8AC3E}">
        <p14:creationId xmlns:p14="http://schemas.microsoft.com/office/powerpoint/2010/main" val="238284350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8E01EFA-4F10-F218-ADEC-39A267C5FD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SG" dirty="0"/>
              <a:t>CFRO Stage 2 : Experimental results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4040C042-A2A5-660E-BD58-CE55C1E7D44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63379964"/>
              </p:ext>
            </p:extLst>
          </p:nvPr>
        </p:nvGraphicFramePr>
        <p:xfrm>
          <a:off x="281187" y="1903707"/>
          <a:ext cx="6083459" cy="37601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EB661DA6-FC80-A36A-0EC8-5B34554FD792}"/>
              </a:ext>
            </a:extLst>
          </p:cNvPr>
          <p:cNvSpPr txBox="1">
            <a:spLocks/>
          </p:cNvSpPr>
          <p:nvPr/>
        </p:nvSpPr>
        <p:spPr>
          <a:xfrm>
            <a:off x="281186" y="5846922"/>
            <a:ext cx="11784844" cy="77052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457123" indent="-457123" algn="l" defTabSz="121899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en-US" sz="1600" kern="1200" dirty="0" smtClean="0">
                <a:solidFill>
                  <a:srgbClr val="5F748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990434" indent="-380936" algn="l" defTabSz="1218995" rtl="0" eaLnBrk="1" latinLnBrk="0" hangingPunct="1">
              <a:spcBef>
                <a:spcPct val="20000"/>
              </a:spcBef>
              <a:buFont typeface="Arial" pitchFamily="34" charset="0"/>
              <a:buChar char="–"/>
              <a:defRPr lang="en-US" sz="1600" kern="1200" dirty="0" smtClean="0">
                <a:solidFill>
                  <a:srgbClr val="5F748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523745" indent="-304748" algn="l" defTabSz="121899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en-US" sz="1600" kern="1200" dirty="0" smtClean="0">
                <a:solidFill>
                  <a:srgbClr val="5F748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2133241" indent="-304748" algn="l" defTabSz="1218995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2739" indent="-304748" algn="l" defTabSz="1218995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238" indent="-304748" algn="l" defTabSz="121899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1736" indent="-304748" algn="l" defTabSz="121899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234" indent="-304748" algn="l" defTabSz="121899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0732" indent="-304748" algn="l" defTabSz="121899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SG" sz="1867" kern="0" dirty="0">
                <a:solidFill>
                  <a:schemeClr val="accent6">
                    <a:lumMod val="90000"/>
                    <a:lumOff val="10000"/>
                  </a:schemeClr>
                </a:solidFill>
                <a:latin typeface="Arial"/>
                <a:cs typeface="Arial"/>
              </a:rPr>
              <a:t>CFRO </a:t>
            </a:r>
            <a:r>
              <a:rPr lang="en-SG" sz="1867" kern="0" dirty="0">
                <a:solidFill>
                  <a:schemeClr val="accent6">
                    <a:lumMod val="90000"/>
                    <a:lumOff val="10000"/>
                  </a:schemeClr>
                </a:solidFill>
                <a:latin typeface="Arial"/>
                <a:cs typeface="Arial"/>
                <a:sym typeface="Arial"/>
              </a:rPr>
              <a:t>successfully</a:t>
            </a:r>
            <a:r>
              <a:rPr lang="en-SG" sz="1867" kern="0" dirty="0">
                <a:solidFill>
                  <a:schemeClr val="accent6">
                    <a:lumMod val="90000"/>
                    <a:lumOff val="10000"/>
                  </a:schemeClr>
                </a:solidFill>
                <a:latin typeface="Arial"/>
                <a:cs typeface="Arial"/>
              </a:rPr>
              <a:t> concentrating up the feed from </a:t>
            </a:r>
            <a:r>
              <a:rPr lang="en-US" sz="1867" kern="0" dirty="0">
                <a:solidFill>
                  <a:schemeClr val="accent6">
                    <a:lumMod val="90000"/>
                    <a:lumOff val="10000"/>
                  </a:schemeClr>
                </a:solidFill>
                <a:latin typeface="Arial"/>
                <a:cs typeface="Arial"/>
              </a:rPr>
              <a:t>31,020mg/L</a:t>
            </a:r>
            <a:r>
              <a:rPr lang="en-SG" sz="1867" kern="0" dirty="0">
                <a:solidFill>
                  <a:schemeClr val="accent6">
                    <a:lumMod val="90000"/>
                    <a:lumOff val="10000"/>
                  </a:schemeClr>
                </a:solidFill>
                <a:latin typeface="Arial"/>
                <a:cs typeface="Arial"/>
              </a:rPr>
              <a:t> to &gt;260,000mg/l based on equivalent RI index</a:t>
            </a:r>
            <a:endParaRPr lang="en-SG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927AB8CE-3177-6E71-976E-8F58D4F5ACC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75074831"/>
              </p:ext>
            </p:extLst>
          </p:nvPr>
        </p:nvGraphicFramePr>
        <p:xfrm>
          <a:off x="6289965" y="1903707"/>
          <a:ext cx="5709446" cy="37601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366CD054-8C66-3E2C-9AB3-78C290606E5F}"/>
              </a:ext>
            </a:extLst>
          </p:cNvPr>
          <p:cNvSpPr txBox="1">
            <a:spLocks/>
          </p:cNvSpPr>
          <p:nvPr/>
        </p:nvSpPr>
        <p:spPr>
          <a:xfrm>
            <a:off x="729996" y="1476955"/>
            <a:ext cx="11488434" cy="579152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endParaRPr lang="en-US" kern="0" dirty="0">
              <a:solidFill>
                <a:schemeClr val="accent6">
                  <a:lumMod val="90000"/>
                  <a:lumOff val="1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164099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8E01EFA-4F10-F218-ADEC-39A267C5FD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SG" dirty="0"/>
              <a:t>CFRO Stage 2 : Experimental results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A71F1D78-DB66-C268-DB5A-EF276CF9B153}"/>
              </a:ext>
            </a:extLst>
          </p:cNvPr>
          <p:cNvSpPr txBox="1">
            <a:spLocks/>
          </p:cNvSpPr>
          <p:nvPr/>
        </p:nvSpPr>
        <p:spPr>
          <a:xfrm>
            <a:off x="577596" y="1324555"/>
            <a:ext cx="11134113" cy="579152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kern="0" dirty="0">
                <a:solidFill>
                  <a:schemeClr val="accent6">
                    <a:lumMod val="90000"/>
                    <a:lumOff val="10000"/>
                  </a:schemeClr>
                </a:solidFill>
              </a:rPr>
              <a:t>Concentrated TDS of CFRO Feed</a:t>
            </a:r>
            <a:r>
              <a:rPr lang="en-US" dirty="0">
                <a:solidFill>
                  <a:schemeClr val="accent6">
                    <a:lumMod val="90000"/>
                    <a:lumOff val="10000"/>
                  </a:schemeClr>
                </a:solidFill>
              </a:rPr>
              <a:t> from 31,020 mg/L to 265,600 mg/L and achieved ~88% recover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kern="0" dirty="0">
              <a:solidFill>
                <a:schemeClr val="accent6">
                  <a:lumMod val="90000"/>
                  <a:lumOff val="10000"/>
                </a:schemeClr>
              </a:solidFill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F216485B-9A9A-3D2C-B315-21A823488F4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54457378"/>
              </p:ext>
            </p:extLst>
          </p:nvPr>
        </p:nvGraphicFramePr>
        <p:xfrm>
          <a:off x="342392" y="1903707"/>
          <a:ext cx="7498635" cy="459763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99727">
                  <a:extLst>
                    <a:ext uri="{9D8B030D-6E8A-4147-A177-3AD203B41FA5}">
                      <a16:colId xmlns:a16="http://schemas.microsoft.com/office/drawing/2014/main" val="3630774974"/>
                    </a:ext>
                  </a:extLst>
                </a:gridCol>
                <a:gridCol w="1499727">
                  <a:extLst>
                    <a:ext uri="{9D8B030D-6E8A-4147-A177-3AD203B41FA5}">
                      <a16:colId xmlns:a16="http://schemas.microsoft.com/office/drawing/2014/main" val="2989065688"/>
                    </a:ext>
                  </a:extLst>
                </a:gridCol>
                <a:gridCol w="1499727">
                  <a:extLst>
                    <a:ext uri="{9D8B030D-6E8A-4147-A177-3AD203B41FA5}">
                      <a16:colId xmlns:a16="http://schemas.microsoft.com/office/drawing/2014/main" val="402924200"/>
                    </a:ext>
                  </a:extLst>
                </a:gridCol>
                <a:gridCol w="1499727">
                  <a:extLst>
                    <a:ext uri="{9D8B030D-6E8A-4147-A177-3AD203B41FA5}">
                      <a16:colId xmlns:a16="http://schemas.microsoft.com/office/drawing/2014/main" val="665093796"/>
                    </a:ext>
                  </a:extLst>
                </a:gridCol>
                <a:gridCol w="1499727">
                  <a:extLst>
                    <a:ext uri="{9D8B030D-6E8A-4147-A177-3AD203B41FA5}">
                      <a16:colId xmlns:a16="http://schemas.microsoft.com/office/drawing/2014/main" val="3559341233"/>
                    </a:ext>
                  </a:extLst>
                </a:gridCol>
              </a:tblGrid>
              <a:tr h="346416">
                <a:tc>
                  <a:txBody>
                    <a:bodyPr/>
                    <a:lstStyle/>
                    <a:p>
                      <a:pPr marL="0" algn="ctr" defTabSz="1218995" rtl="0" eaLnBrk="1" fontAlgn="ctr" latinLnBrk="0" hangingPunct="1"/>
                      <a:r>
                        <a:rPr lang="en-SG" sz="14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rameter </a:t>
                      </a:r>
                    </a:p>
                  </a:txBody>
                  <a:tcPr marL="7824" marR="7824" marT="78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8995" rtl="0" eaLnBrk="1" fontAlgn="ctr" latinLnBrk="0" hangingPunct="1"/>
                      <a:r>
                        <a:rPr lang="en-SG" sz="14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ethod</a:t>
                      </a:r>
                    </a:p>
                  </a:txBody>
                  <a:tcPr marL="7824" marR="7824" marT="78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8995" rtl="0" eaLnBrk="1" fontAlgn="ctr" latinLnBrk="0" hangingPunct="1"/>
                      <a:r>
                        <a:rPr lang="en-SG" sz="14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nit</a:t>
                      </a:r>
                    </a:p>
                  </a:txBody>
                  <a:tcPr marL="7824" marR="7824" marT="78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8995" rtl="0" eaLnBrk="1" fontAlgn="ctr" latinLnBrk="0" hangingPunct="1"/>
                      <a:r>
                        <a:rPr lang="en-SG" sz="14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oise CFRO Feed</a:t>
                      </a:r>
                    </a:p>
                  </a:txBody>
                  <a:tcPr marL="7824" marR="7824" marT="78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8995" rtl="0" eaLnBrk="1" fontAlgn="ctr" latinLnBrk="0" hangingPunct="1"/>
                      <a:r>
                        <a:rPr lang="en-SG" sz="1400" b="1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oise CFRO Brine Reject</a:t>
                      </a:r>
                    </a:p>
                  </a:txBody>
                  <a:tcPr marL="7824" marR="7824" marT="78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940895"/>
                  </a:ext>
                </a:extLst>
              </a:tr>
              <a:tr h="346416">
                <a:tc>
                  <a:txBody>
                    <a:bodyPr/>
                    <a:lstStyle/>
                    <a:p>
                      <a:pPr marL="0" algn="ctr" defTabSz="1218995" rtl="0" eaLnBrk="1" fontAlgn="ctr" latinLnBrk="0" hangingPunct="1"/>
                      <a:r>
                        <a:rPr lang="en-SG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luoride as F</a:t>
                      </a:r>
                    </a:p>
                  </a:txBody>
                  <a:tcPr marL="7824" marR="7824" marT="78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8995" rtl="0" eaLnBrk="1" fontAlgn="ctr" latinLnBrk="0" hangingPunct="1"/>
                      <a:r>
                        <a:rPr lang="en-SG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on Chromatography</a:t>
                      </a:r>
                    </a:p>
                  </a:txBody>
                  <a:tcPr marL="7824" marR="7824" marT="78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8995" rtl="0" eaLnBrk="1" fontAlgn="ctr" latinLnBrk="0" hangingPunct="1"/>
                      <a:r>
                        <a:rPr lang="en-SG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g/l</a:t>
                      </a:r>
                    </a:p>
                  </a:txBody>
                  <a:tcPr marL="7824" marR="7824" marT="78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8995" rtl="0" eaLnBrk="1" fontAlgn="ctr" latinLnBrk="0" hangingPunct="1"/>
                      <a:r>
                        <a:rPr lang="en-SG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3.9</a:t>
                      </a:r>
                    </a:p>
                  </a:txBody>
                  <a:tcPr marL="7824" marR="7824" marT="78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8995" rtl="0" eaLnBrk="1" fontAlgn="ctr" latinLnBrk="0" hangingPunct="1"/>
                      <a:r>
                        <a:rPr lang="en-SG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0</a:t>
                      </a:r>
                    </a:p>
                  </a:txBody>
                  <a:tcPr marL="7824" marR="7824" marT="78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9777337"/>
                  </a:ext>
                </a:extLst>
              </a:tr>
              <a:tr h="415701">
                <a:tc>
                  <a:txBody>
                    <a:bodyPr/>
                    <a:lstStyle/>
                    <a:p>
                      <a:pPr marL="0" algn="ctr" defTabSz="1218995" rtl="0" eaLnBrk="1" fontAlgn="ctr" latinLnBrk="0" hangingPunct="1"/>
                      <a:r>
                        <a:rPr lang="en-SG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loride as Cl</a:t>
                      </a:r>
                    </a:p>
                  </a:txBody>
                  <a:tcPr marL="7824" marR="7824" marT="78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8995" rtl="0" eaLnBrk="1" fontAlgn="ctr" latinLnBrk="0" hangingPunct="1"/>
                      <a:r>
                        <a:rPr lang="en-SG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on Chromatography</a:t>
                      </a:r>
                    </a:p>
                  </a:txBody>
                  <a:tcPr marL="7824" marR="7824" marT="78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899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SG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g/l</a:t>
                      </a:r>
                    </a:p>
                  </a:txBody>
                  <a:tcPr marL="7824" marR="7824" marT="78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8995" rtl="0" eaLnBrk="1" fontAlgn="ctr" latinLnBrk="0" hangingPunct="1"/>
                      <a:r>
                        <a:rPr lang="en-SG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,594</a:t>
                      </a:r>
                    </a:p>
                  </a:txBody>
                  <a:tcPr marL="7824" marR="7824" marT="78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8995" rtl="0" eaLnBrk="1" fontAlgn="ctr" latinLnBrk="0" hangingPunct="1"/>
                      <a:r>
                        <a:rPr lang="en-SG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8,883</a:t>
                      </a:r>
                    </a:p>
                  </a:txBody>
                  <a:tcPr marL="7824" marR="7824" marT="78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8612176"/>
                  </a:ext>
                </a:extLst>
              </a:tr>
              <a:tr h="415701">
                <a:tc>
                  <a:txBody>
                    <a:bodyPr/>
                    <a:lstStyle/>
                    <a:p>
                      <a:pPr marL="0" algn="ctr" defTabSz="1218995" rtl="0" eaLnBrk="1" fontAlgn="ctr" latinLnBrk="0" hangingPunct="1"/>
                      <a:r>
                        <a:rPr lang="en-SG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ulphate as SO4</a:t>
                      </a:r>
                    </a:p>
                  </a:txBody>
                  <a:tcPr marL="7824" marR="7824" marT="78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8995" rtl="0" eaLnBrk="1" fontAlgn="ctr" latinLnBrk="0" hangingPunct="1"/>
                      <a:r>
                        <a:rPr lang="en-SG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on Chromatography</a:t>
                      </a:r>
                    </a:p>
                  </a:txBody>
                  <a:tcPr marL="7824" marR="7824" marT="78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8995" rtl="0" eaLnBrk="1" fontAlgn="ctr" latinLnBrk="0" hangingPunct="1"/>
                      <a:r>
                        <a:rPr lang="en-SG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g/l</a:t>
                      </a:r>
                    </a:p>
                  </a:txBody>
                  <a:tcPr marL="7824" marR="7824" marT="78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8995" rtl="0" eaLnBrk="1" fontAlgn="ctr" latinLnBrk="0" hangingPunct="1"/>
                      <a:r>
                        <a:rPr lang="en-SG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443</a:t>
                      </a:r>
                    </a:p>
                  </a:txBody>
                  <a:tcPr marL="7824" marR="7824" marT="78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8995" rtl="0" eaLnBrk="1" fontAlgn="ctr" latinLnBrk="0" hangingPunct="1"/>
                      <a:r>
                        <a:rPr lang="en-SG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8,724</a:t>
                      </a:r>
                    </a:p>
                  </a:txBody>
                  <a:tcPr marL="7824" marR="7824" marT="78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8287560"/>
                  </a:ext>
                </a:extLst>
              </a:tr>
              <a:tr h="346416">
                <a:tc>
                  <a:txBody>
                    <a:bodyPr/>
                    <a:lstStyle/>
                    <a:p>
                      <a:pPr marL="0" algn="ctr" defTabSz="1218995" rtl="0" eaLnBrk="1" fontAlgn="ctr" latinLnBrk="0" hangingPunct="1"/>
                      <a:r>
                        <a:rPr lang="en-SG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lcium as Ca</a:t>
                      </a:r>
                    </a:p>
                  </a:txBody>
                  <a:tcPr marL="7824" marR="7824" marT="78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8995" rtl="0" eaLnBrk="1" fontAlgn="ctr" latinLnBrk="0" hangingPunct="1"/>
                      <a:r>
                        <a:rPr lang="en-SG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PA200.7</a:t>
                      </a:r>
                    </a:p>
                  </a:txBody>
                  <a:tcPr marL="7824" marR="7824" marT="78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8995" rtl="0" eaLnBrk="1" fontAlgn="ctr" latinLnBrk="0" hangingPunct="1"/>
                      <a:r>
                        <a:rPr lang="en-SG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g/l</a:t>
                      </a:r>
                    </a:p>
                  </a:txBody>
                  <a:tcPr marL="7824" marR="7824" marT="78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8995" rtl="0" eaLnBrk="1" fontAlgn="ctr" latinLnBrk="0" hangingPunct="1"/>
                      <a:r>
                        <a:rPr lang="en-SG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8.6</a:t>
                      </a:r>
                    </a:p>
                  </a:txBody>
                  <a:tcPr marL="7824" marR="7824" marT="78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8995" rtl="0" eaLnBrk="1" fontAlgn="ctr" latinLnBrk="0" hangingPunct="1"/>
                      <a:r>
                        <a:rPr lang="en-SG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9</a:t>
                      </a:r>
                    </a:p>
                  </a:txBody>
                  <a:tcPr marL="7824" marR="7824" marT="78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0332094"/>
                  </a:ext>
                </a:extLst>
              </a:tr>
              <a:tr h="346416">
                <a:tc>
                  <a:txBody>
                    <a:bodyPr/>
                    <a:lstStyle/>
                    <a:p>
                      <a:pPr marL="0" algn="ctr" defTabSz="1218995" rtl="0" eaLnBrk="1" fontAlgn="ctr" latinLnBrk="0" hangingPunct="1"/>
                      <a:r>
                        <a:rPr lang="en-SG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gnesium as Mg</a:t>
                      </a:r>
                    </a:p>
                  </a:txBody>
                  <a:tcPr marL="7824" marR="7824" marT="78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8995" rtl="0" eaLnBrk="1" fontAlgn="ctr" latinLnBrk="0" hangingPunct="1"/>
                      <a:r>
                        <a:rPr lang="en-SG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PA200.7</a:t>
                      </a:r>
                    </a:p>
                  </a:txBody>
                  <a:tcPr marL="7824" marR="7824" marT="78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8995" rtl="0" eaLnBrk="1" fontAlgn="ctr" latinLnBrk="0" hangingPunct="1"/>
                      <a:r>
                        <a:rPr lang="en-SG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g/l</a:t>
                      </a:r>
                    </a:p>
                  </a:txBody>
                  <a:tcPr marL="7824" marR="7824" marT="78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8995" rtl="0" eaLnBrk="1" fontAlgn="ctr" latinLnBrk="0" hangingPunct="1"/>
                      <a:r>
                        <a:rPr lang="en-SG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.6</a:t>
                      </a:r>
                    </a:p>
                  </a:txBody>
                  <a:tcPr marL="7824" marR="7824" marT="78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8995" rtl="0" eaLnBrk="1" fontAlgn="ctr" latinLnBrk="0" hangingPunct="1"/>
                      <a:r>
                        <a:rPr lang="en-SG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66</a:t>
                      </a:r>
                    </a:p>
                  </a:txBody>
                  <a:tcPr marL="7824" marR="7824" marT="78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7103052"/>
                  </a:ext>
                </a:extLst>
              </a:tr>
              <a:tr h="346416">
                <a:tc>
                  <a:txBody>
                    <a:bodyPr/>
                    <a:lstStyle/>
                    <a:p>
                      <a:pPr marL="0" algn="ctr" defTabSz="1218995" rtl="0" eaLnBrk="1" fontAlgn="ctr" latinLnBrk="0" hangingPunct="1"/>
                      <a:r>
                        <a:rPr lang="en-SG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tassium as K </a:t>
                      </a:r>
                    </a:p>
                  </a:txBody>
                  <a:tcPr marL="7824" marR="7824" marT="78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8995" rtl="0" eaLnBrk="1" fontAlgn="ctr" latinLnBrk="0" hangingPunct="1"/>
                      <a:r>
                        <a:rPr lang="en-SG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PA200.7</a:t>
                      </a:r>
                    </a:p>
                  </a:txBody>
                  <a:tcPr marL="7824" marR="7824" marT="78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8995" rtl="0" eaLnBrk="1" fontAlgn="ctr" latinLnBrk="0" hangingPunct="1"/>
                      <a:r>
                        <a:rPr lang="en-SG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g/l</a:t>
                      </a:r>
                    </a:p>
                  </a:txBody>
                  <a:tcPr marL="7824" marR="7824" marT="78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8995" rtl="0" eaLnBrk="1" fontAlgn="ctr" latinLnBrk="0" hangingPunct="1"/>
                      <a:r>
                        <a:rPr lang="en-SG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0.2</a:t>
                      </a:r>
                    </a:p>
                  </a:txBody>
                  <a:tcPr marL="7824" marR="7824" marT="78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8995" rtl="0" eaLnBrk="1" fontAlgn="ctr" latinLnBrk="0" hangingPunct="1"/>
                      <a:r>
                        <a:rPr lang="en-SG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36</a:t>
                      </a:r>
                    </a:p>
                  </a:txBody>
                  <a:tcPr marL="7824" marR="7824" marT="78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6159098"/>
                  </a:ext>
                </a:extLst>
              </a:tr>
              <a:tr h="346416">
                <a:tc>
                  <a:txBody>
                    <a:bodyPr/>
                    <a:lstStyle/>
                    <a:p>
                      <a:pPr marL="0" algn="ctr" defTabSz="1218995" rtl="0" eaLnBrk="1" fontAlgn="ctr" latinLnBrk="0" hangingPunct="1"/>
                      <a:r>
                        <a:rPr lang="en-SG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tal Silica SiO2 </a:t>
                      </a:r>
                    </a:p>
                  </a:txBody>
                  <a:tcPr marL="7824" marR="7824" marT="78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8995" rtl="0" eaLnBrk="1" fontAlgn="ctr" latinLnBrk="0" hangingPunct="1"/>
                      <a:r>
                        <a:rPr lang="en-SG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PA200.7/ Calculation</a:t>
                      </a:r>
                    </a:p>
                  </a:txBody>
                  <a:tcPr marL="7824" marR="7824" marT="78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8995" rtl="0" eaLnBrk="1" fontAlgn="ctr" latinLnBrk="0" hangingPunct="1"/>
                      <a:r>
                        <a:rPr lang="en-SG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g/l</a:t>
                      </a:r>
                    </a:p>
                  </a:txBody>
                  <a:tcPr marL="7824" marR="7824" marT="78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8995" rtl="0" eaLnBrk="1" fontAlgn="ctr" latinLnBrk="0" hangingPunct="1"/>
                      <a:r>
                        <a:rPr lang="en-SG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3</a:t>
                      </a:r>
                    </a:p>
                  </a:txBody>
                  <a:tcPr marL="7824" marR="7824" marT="78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8995" rtl="0" eaLnBrk="1" fontAlgn="ctr" latinLnBrk="0" hangingPunct="1"/>
                      <a:r>
                        <a:rPr lang="en-SG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63</a:t>
                      </a:r>
                    </a:p>
                  </a:txBody>
                  <a:tcPr marL="7824" marR="7824" marT="78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455643"/>
                  </a:ext>
                </a:extLst>
              </a:tr>
              <a:tr h="346416">
                <a:tc>
                  <a:txBody>
                    <a:bodyPr/>
                    <a:lstStyle/>
                    <a:p>
                      <a:pPr marL="0" algn="ctr" defTabSz="1218995" rtl="0" eaLnBrk="1" fontAlgn="ctr" latinLnBrk="0" hangingPunct="1"/>
                      <a:r>
                        <a:rPr lang="en-SG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odium as Na</a:t>
                      </a:r>
                    </a:p>
                  </a:txBody>
                  <a:tcPr marL="7824" marR="7824" marT="78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8995" rtl="0" eaLnBrk="1" fontAlgn="ctr" latinLnBrk="0" hangingPunct="1"/>
                      <a:r>
                        <a:rPr lang="en-SG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PA200.7</a:t>
                      </a:r>
                    </a:p>
                  </a:txBody>
                  <a:tcPr marL="7824" marR="7824" marT="78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8995" rtl="0" eaLnBrk="1" fontAlgn="ctr" latinLnBrk="0" hangingPunct="1"/>
                      <a:r>
                        <a:rPr lang="en-SG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g/l</a:t>
                      </a:r>
                    </a:p>
                  </a:txBody>
                  <a:tcPr marL="7824" marR="7824" marT="78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8995" rtl="0" eaLnBrk="1" fontAlgn="ctr" latinLnBrk="0" hangingPunct="1"/>
                      <a:r>
                        <a:rPr lang="en-SG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3,280</a:t>
                      </a:r>
                    </a:p>
                  </a:txBody>
                  <a:tcPr marL="7824" marR="7824" marT="78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8995" rtl="0" eaLnBrk="1" fontAlgn="ctr" latinLnBrk="0" hangingPunct="1"/>
                      <a:r>
                        <a:rPr lang="en-SG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2,080</a:t>
                      </a:r>
                    </a:p>
                  </a:txBody>
                  <a:tcPr marL="7824" marR="7824" marT="78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6873977"/>
                  </a:ext>
                </a:extLst>
              </a:tr>
              <a:tr h="346416">
                <a:tc>
                  <a:txBody>
                    <a:bodyPr/>
                    <a:lstStyle/>
                    <a:p>
                      <a:pPr marL="0" algn="ctr" defTabSz="1218995" rtl="0" eaLnBrk="1" fontAlgn="ctr" latinLnBrk="0" hangingPunct="1"/>
                      <a:r>
                        <a:rPr lang="en-SG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rontium as Sr </a:t>
                      </a:r>
                    </a:p>
                  </a:txBody>
                  <a:tcPr marL="7824" marR="7824" marT="78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8995" rtl="0" eaLnBrk="1" fontAlgn="ctr" latinLnBrk="0" hangingPunct="1"/>
                      <a:r>
                        <a:rPr lang="en-SG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PA200.7</a:t>
                      </a:r>
                    </a:p>
                  </a:txBody>
                  <a:tcPr marL="7824" marR="7824" marT="78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8995" rtl="0" eaLnBrk="1" fontAlgn="ctr" latinLnBrk="0" hangingPunct="1"/>
                      <a:r>
                        <a:rPr lang="en-SG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g/l</a:t>
                      </a:r>
                    </a:p>
                  </a:txBody>
                  <a:tcPr marL="7824" marR="7824" marT="78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8995" rtl="0" eaLnBrk="1" fontAlgn="ctr" latinLnBrk="0" hangingPunct="1"/>
                      <a:r>
                        <a:rPr lang="en-SG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.9</a:t>
                      </a:r>
                    </a:p>
                  </a:txBody>
                  <a:tcPr marL="7824" marR="7824" marT="78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8995" rtl="0" eaLnBrk="1" fontAlgn="ctr" latinLnBrk="0" hangingPunct="1"/>
                      <a:r>
                        <a:rPr lang="en-SG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7.5</a:t>
                      </a:r>
                    </a:p>
                  </a:txBody>
                  <a:tcPr marL="7824" marR="7824" marT="78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2536285"/>
                  </a:ext>
                </a:extLst>
              </a:tr>
              <a:tr h="346416">
                <a:tc>
                  <a:txBody>
                    <a:bodyPr/>
                    <a:lstStyle/>
                    <a:p>
                      <a:pPr marL="0" algn="ctr" defTabSz="1218995" rtl="0" eaLnBrk="1" fontAlgn="ctr" latinLnBrk="0" hangingPunct="1"/>
                      <a:r>
                        <a:rPr lang="en-SG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DS</a:t>
                      </a:r>
                    </a:p>
                  </a:txBody>
                  <a:tcPr marL="7824" marR="7824" marT="78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8995" rtl="0" eaLnBrk="1" fontAlgn="ctr" latinLnBrk="0" hangingPunct="1"/>
                      <a:r>
                        <a:rPr lang="en-SG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PHA 2540C</a:t>
                      </a:r>
                    </a:p>
                  </a:txBody>
                  <a:tcPr marL="7824" marR="7824" marT="78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8995" rtl="0" eaLnBrk="1" fontAlgn="ctr" latinLnBrk="0" hangingPunct="1"/>
                      <a:r>
                        <a:rPr lang="en-SG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g/l</a:t>
                      </a:r>
                    </a:p>
                  </a:txBody>
                  <a:tcPr marL="7824" marR="7824" marT="78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8995" rtl="0" eaLnBrk="1" fontAlgn="ctr" latinLnBrk="0" hangingPunct="1"/>
                      <a:r>
                        <a:rPr lang="en-SG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1,020</a:t>
                      </a:r>
                    </a:p>
                  </a:txBody>
                  <a:tcPr marL="7824" marR="7824" marT="78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8995" rtl="0" eaLnBrk="1" fontAlgn="ctr" latinLnBrk="0" hangingPunct="1"/>
                      <a:r>
                        <a:rPr lang="en-SG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65,600</a:t>
                      </a:r>
                    </a:p>
                  </a:txBody>
                  <a:tcPr marL="7824" marR="7824" marT="78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91620"/>
                  </a:ext>
                </a:extLst>
              </a:tr>
              <a:tr h="346416">
                <a:tc>
                  <a:txBody>
                    <a:bodyPr/>
                    <a:lstStyle/>
                    <a:p>
                      <a:pPr marL="0" algn="ctr" defTabSz="1218995" rtl="0" eaLnBrk="1" fontAlgn="ctr" latinLnBrk="0" hangingPunct="1"/>
                      <a:r>
                        <a:rPr lang="en-SG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H</a:t>
                      </a:r>
                    </a:p>
                  </a:txBody>
                  <a:tcPr marL="7824" marR="7824" marT="78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8995" rtl="0" eaLnBrk="1" fontAlgn="ctr" latinLnBrk="0" hangingPunct="1"/>
                      <a:r>
                        <a:rPr lang="en-SG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h probe</a:t>
                      </a:r>
                    </a:p>
                  </a:txBody>
                  <a:tcPr marL="7824" marR="7824" marT="78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8995" rtl="0" eaLnBrk="1" fontAlgn="ctr" latinLnBrk="0" hangingPunct="1"/>
                      <a:endParaRPr lang="en-SG" sz="14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824" marR="7824" marT="78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8995" rtl="0" eaLnBrk="1" fontAlgn="ctr" latinLnBrk="0" hangingPunct="1"/>
                      <a:r>
                        <a:rPr lang="en-SG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.25</a:t>
                      </a:r>
                    </a:p>
                  </a:txBody>
                  <a:tcPr marL="7824" marR="7824" marT="78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8995" rtl="0" eaLnBrk="1" fontAlgn="ctr" latinLnBrk="0" hangingPunct="1"/>
                      <a:r>
                        <a:rPr lang="en-SG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.9</a:t>
                      </a:r>
                    </a:p>
                  </a:txBody>
                  <a:tcPr marL="7824" marR="7824" marT="78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7614731"/>
                  </a:ext>
                </a:extLst>
              </a:tr>
            </a:tbl>
          </a:graphicData>
        </a:graphic>
      </p:graphicFrame>
      <p:pic>
        <p:nvPicPr>
          <p:cNvPr id="4" name="Picture 3" descr="A picture containing indoor, beverage, drinking water, bottle&#10;&#10;Description automatically generated">
            <a:extLst>
              <a:ext uri="{FF2B5EF4-FFF2-40B4-BE49-F238E27FC236}">
                <a16:creationId xmlns:a16="http://schemas.microsoft.com/office/drawing/2014/main" id="{B09B2577-B697-FE54-F9E4-AFEC695D727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0291" y="3179618"/>
            <a:ext cx="3943927" cy="28251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159795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B6C5B0B-C595-4479-BA92-AE99996A903C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 smtClean="0">
                <a:ln>
                  <a:noFill/>
                </a:ln>
                <a:solidFill>
                  <a:srgbClr val="7FCA20"/>
                </a:solidFill>
                <a:effectLst/>
                <a:uLnTx/>
                <a:uFillTx/>
                <a:latin typeface="IBM Plex Sans"/>
                <a:sym typeface="IBM Plex San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" sz="1600" b="0" i="0" u="none" strike="noStrike" kern="1200" cap="none" spc="0" normalizeH="0" baseline="0" noProof="0">
              <a:ln>
                <a:noFill/>
              </a:ln>
              <a:solidFill>
                <a:srgbClr val="7FCA20"/>
              </a:solidFill>
              <a:effectLst/>
              <a:uLnTx/>
              <a:uFillTx/>
              <a:latin typeface="IBM Plex Sans"/>
              <a:sym typeface="IBM Plex San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402C1FA-75A3-4F2B-AF7C-E705A74C675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74260" y="2064208"/>
            <a:ext cx="7560139" cy="1419224"/>
          </a:xfrm>
        </p:spPr>
        <p:txBody>
          <a:bodyPr/>
          <a:lstStyle/>
          <a:p>
            <a:br>
              <a:rPr lang="en-US" sz="3600" dirty="0"/>
            </a:br>
            <a:r>
              <a:rPr lang="en-US" sz="3600" dirty="0"/>
              <a:t>Experiments: </a:t>
            </a:r>
            <a:r>
              <a:rPr lang="en-US" dirty="0"/>
              <a:t>Zero Liquid Discharge</a:t>
            </a:r>
            <a:br>
              <a:rPr lang="en-US" dirty="0"/>
            </a:br>
            <a:br>
              <a:rPr lang="en-US" dirty="0"/>
            </a:br>
            <a:r>
              <a:rPr lang="en-US" dirty="0"/>
              <a:t>Scheme followed: </a:t>
            </a:r>
            <a:br>
              <a:rPr lang="en-US" dirty="0"/>
            </a:br>
            <a:r>
              <a:rPr lang="en-US" dirty="0"/>
              <a:t>	</a:t>
            </a:r>
            <a:r>
              <a:rPr lang="en-US" sz="3200" dirty="0"/>
              <a:t>- </a:t>
            </a:r>
            <a:r>
              <a:rPr lang="en-US" sz="2800" dirty="0"/>
              <a:t>Adiabatic Chiller, CGE and </a:t>
            </a:r>
            <a:br>
              <a:rPr lang="en-US" sz="2800" dirty="0"/>
            </a:br>
            <a:r>
              <a:rPr lang="en-US" sz="2800" dirty="0"/>
              <a:t>	Crystallizer/Centrifuge</a:t>
            </a:r>
            <a:br>
              <a:rPr lang="en-US" dirty="0"/>
            </a:br>
            <a:endParaRPr lang="en-SG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236A6E4-9D7C-0F75-817E-B88F3CAEE0F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391" t="10901" r="3809" b="7211"/>
          <a:stretch/>
        </p:blipFill>
        <p:spPr>
          <a:xfrm>
            <a:off x="9564935" y="1056675"/>
            <a:ext cx="1675764" cy="2015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591148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8E01EFA-4F10-F218-ADEC-39A267C5FD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29434" y="240555"/>
            <a:ext cx="8394857" cy="1084000"/>
          </a:xfrm>
        </p:spPr>
        <p:txBody>
          <a:bodyPr/>
          <a:lstStyle/>
          <a:p>
            <a:r>
              <a:rPr lang="en-SG" dirty="0"/>
              <a:t>Test objective using Adiabatic Chiller/Centrifuge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366CD054-8C66-3E2C-9AB3-78C290606E5F}"/>
              </a:ext>
            </a:extLst>
          </p:cNvPr>
          <p:cNvSpPr txBox="1">
            <a:spLocks/>
          </p:cNvSpPr>
          <p:nvPr/>
        </p:nvSpPr>
        <p:spPr>
          <a:xfrm>
            <a:off x="729996" y="1476955"/>
            <a:ext cx="11488434" cy="579152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endParaRPr lang="en-US" kern="0" dirty="0">
              <a:solidFill>
                <a:schemeClr val="accent6">
                  <a:lumMod val="90000"/>
                  <a:lumOff val="10000"/>
                </a:schemeClr>
              </a:solidFill>
            </a:endParaRPr>
          </a:p>
        </p:txBody>
      </p:sp>
      <p:pic>
        <p:nvPicPr>
          <p:cNvPr id="8" name="Picture 7" descr="Adibatic Chiller">
            <a:extLst>
              <a:ext uri="{FF2B5EF4-FFF2-40B4-BE49-F238E27FC236}">
                <a16:creationId xmlns:a16="http://schemas.microsoft.com/office/drawing/2014/main" id="{33B2696A-E5AA-815E-20FC-5F576E94DFF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7345" y="1476955"/>
            <a:ext cx="5006109" cy="4530436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2B0C3F11-AE55-3B4D-E055-96F602110197}"/>
              </a:ext>
            </a:extLst>
          </p:cNvPr>
          <p:cNvSpPr txBox="1"/>
          <p:nvPr/>
        </p:nvSpPr>
        <p:spPr>
          <a:xfrm>
            <a:off x="397164" y="1766531"/>
            <a:ext cx="6317672" cy="22467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2800" dirty="0"/>
              <a:t>The objective of the adiabatic chiller and centrifuge experiment is to produce the sodium sulfate rich salts from the CFRO brine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203476807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8E01EFA-4F10-F218-ADEC-39A267C5FD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29434" y="240555"/>
            <a:ext cx="8394857" cy="1084000"/>
          </a:xfrm>
        </p:spPr>
        <p:txBody>
          <a:bodyPr/>
          <a:lstStyle/>
          <a:p>
            <a:r>
              <a:rPr lang="en-SG" dirty="0"/>
              <a:t>Adiabatic Chiller: Experimental procedures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366CD054-8C66-3E2C-9AB3-78C290606E5F}"/>
              </a:ext>
            </a:extLst>
          </p:cNvPr>
          <p:cNvSpPr txBox="1">
            <a:spLocks/>
          </p:cNvSpPr>
          <p:nvPr/>
        </p:nvSpPr>
        <p:spPr>
          <a:xfrm>
            <a:off x="729996" y="1476955"/>
            <a:ext cx="11488434" cy="579152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endParaRPr lang="en-US" kern="0" dirty="0">
              <a:solidFill>
                <a:schemeClr val="accent6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B0C3F11-AE55-3B4D-E055-96F602110197}"/>
              </a:ext>
            </a:extLst>
          </p:cNvPr>
          <p:cNvSpPr txBox="1"/>
          <p:nvPr/>
        </p:nvSpPr>
        <p:spPr>
          <a:xfrm>
            <a:off x="397164" y="1476955"/>
            <a:ext cx="11821266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SG" sz="2800" dirty="0"/>
              <a:t>Using a chiller cool down the water bath temperature to about 1˚C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SG" sz="2800" dirty="0"/>
              <a:t>Soak the concentrated brine sample (TDS: 260,000 mg/l) in the cool water bath – monitor the change in sample temperature. </a:t>
            </a:r>
            <a:endParaRPr lang="en-US" sz="2800" dirty="0"/>
          </a:p>
        </p:txBody>
      </p:sp>
      <p:pic>
        <p:nvPicPr>
          <p:cNvPr id="12" name="Picture 11" descr="A picture containing indoor, glass, empty, jar&#10;&#10;Description automatically generated">
            <a:extLst>
              <a:ext uri="{FF2B5EF4-FFF2-40B4-BE49-F238E27FC236}">
                <a16:creationId xmlns:a16="http://schemas.microsoft.com/office/drawing/2014/main" id="{DA2A4D80-C8E6-8872-71C8-ED6CB25F394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4874" y="3014350"/>
            <a:ext cx="2795011" cy="3726681"/>
          </a:xfrm>
          <a:prstGeom prst="rect">
            <a:avLst/>
          </a:prstGeom>
        </p:spPr>
      </p:pic>
      <p:pic>
        <p:nvPicPr>
          <p:cNvPr id="13" name="Picture 3">
            <a:extLst>
              <a:ext uri="{FF2B5EF4-FFF2-40B4-BE49-F238E27FC236}">
                <a16:creationId xmlns:a16="http://schemas.microsoft.com/office/drawing/2014/main" id="{EFE49C96-558A-5BA4-8937-EFB3F071E53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627" r="9314"/>
          <a:stretch/>
        </p:blipFill>
        <p:spPr bwMode="auto">
          <a:xfrm>
            <a:off x="7574042" y="2890119"/>
            <a:ext cx="2244532" cy="37273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9C267AFD-E311-BC18-CEA0-DA3F0A93DF8F}"/>
              </a:ext>
            </a:extLst>
          </p:cNvPr>
          <p:cNvSpPr txBox="1"/>
          <p:nvPr/>
        </p:nvSpPr>
        <p:spPr>
          <a:xfrm>
            <a:off x="855135" y="6111605"/>
            <a:ext cx="2465322" cy="646331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r>
              <a:rPr lang="en-SG" dirty="0"/>
              <a:t>Concentrated brine at room temperature.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D2BEA59-CD05-FAD6-F0FC-BE9DBE78D38D}"/>
              </a:ext>
            </a:extLst>
          </p:cNvPr>
          <p:cNvSpPr txBox="1"/>
          <p:nvPr/>
        </p:nvSpPr>
        <p:spPr>
          <a:xfrm>
            <a:off x="7574042" y="6111605"/>
            <a:ext cx="2465322" cy="646331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r>
              <a:rPr lang="en-SG" dirty="0"/>
              <a:t>Concentrated brine after cooling to 2.2˚C. </a:t>
            </a:r>
          </a:p>
        </p:txBody>
      </p:sp>
    </p:spTree>
    <p:extLst>
      <p:ext uri="{BB962C8B-B14F-4D97-AF65-F5344CB8AC3E}">
        <p14:creationId xmlns:p14="http://schemas.microsoft.com/office/powerpoint/2010/main" val="197504333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8E01EFA-4F10-F218-ADEC-39A267C5FD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29434" y="240555"/>
            <a:ext cx="8394857" cy="1084000"/>
          </a:xfrm>
        </p:spPr>
        <p:txBody>
          <a:bodyPr/>
          <a:lstStyle/>
          <a:p>
            <a:r>
              <a:rPr lang="en-SG" dirty="0"/>
              <a:t>Centrifuge/Crystallizer: Experimental results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366CD054-8C66-3E2C-9AB3-78C290606E5F}"/>
              </a:ext>
            </a:extLst>
          </p:cNvPr>
          <p:cNvSpPr txBox="1">
            <a:spLocks/>
          </p:cNvSpPr>
          <p:nvPr/>
        </p:nvSpPr>
        <p:spPr>
          <a:xfrm>
            <a:off x="729996" y="1476955"/>
            <a:ext cx="11488434" cy="579152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endParaRPr lang="en-US" kern="0" dirty="0">
              <a:solidFill>
                <a:schemeClr val="accent6">
                  <a:lumMod val="90000"/>
                  <a:lumOff val="10000"/>
                </a:schemeClr>
              </a:solidFill>
            </a:endParaRPr>
          </a:p>
        </p:txBody>
      </p:sp>
      <p:pic>
        <p:nvPicPr>
          <p:cNvPr id="4" name="Content Placeholder 6" descr="A picture containing hydrant, outdoor object&#10;&#10;Description automatically generated">
            <a:extLst>
              <a:ext uri="{FF2B5EF4-FFF2-40B4-BE49-F238E27FC236}">
                <a16:creationId xmlns:a16="http://schemas.microsoft.com/office/drawing/2014/main" id="{41070EF5-59F5-47BF-C4ED-D466C4B18CA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75519" y="1468984"/>
            <a:ext cx="3675975" cy="4750938"/>
          </a:xfr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9FBE5EF-91CE-ABCB-8E66-B208C38786EA}"/>
              </a:ext>
            </a:extLst>
          </p:cNvPr>
          <p:cNvSpPr txBox="1"/>
          <p:nvPr/>
        </p:nvSpPr>
        <p:spPr>
          <a:xfrm>
            <a:off x="5859476" y="2150031"/>
            <a:ext cx="2889088" cy="923330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r>
              <a:rPr lang="en-SG" dirty="0"/>
              <a:t>Salts after centrifuge,  from sodium sulphate rich stream</a:t>
            </a:r>
          </a:p>
        </p:txBody>
      </p:sp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0AE77D32-B0F0-B9EB-31C9-D94B0FCD5D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96085967"/>
              </p:ext>
            </p:extLst>
          </p:nvPr>
        </p:nvGraphicFramePr>
        <p:xfrm>
          <a:off x="379835" y="1496291"/>
          <a:ext cx="5152747" cy="460039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231583">
                  <a:extLst>
                    <a:ext uri="{9D8B030D-6E8A-4147-A177-3AD203B41FA5}">
                      <a16:colId xmlns:a16="http://schemas.microsoft.com/office/drawing/2014/main" val="853225544"/>
                    </a:ext>
                  </a:extLst>
                </a:gridCol>
                <a:gridCol w="1921164">
                  <a:extLst>
                    <a:ext uri="{9D8B030D-6E8A-4147-A177-3AD203B41FA5}">
                      <a16:colId xmlns:a16="http://schemas.microsoft.com/office/drawing/2014/main" val="2703131088"/>
                    </a:ext>
                  </a:extLst>
                </a:gridCol>
              </a:tblGrid>
              <a:tr h="923594"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600" u="none" strike="noStrike" dirty="0">
                          <a:solidFill>
                            <a:schemeClr val="bg1"/>
                          </a:solidFill>
                          <a:effectLst/>
                        </a:rPr>
                        <a:t>Parameter </a:t>
                      </a:r>
                      <a:endParaRPr lang="en-SG" sz="16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728A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600" u="none" strike="noStrike" dirty="0">
                          <a:solidFill>
                            <a:schemeClr val="bg1"/>
                          </a:solidFill>
                          <a:effectLst/>
                        </a:rPr>
                        <a:t> Sodium sulphate rich stream</a:t>
                      </a:r>
                      <a:endParaRPr lang="en-SG" sz="16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728A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9075915"/>
                  </a:ext>
                </a:extLst>
              </a:tr>
              <a:tr h="316966"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u="none" strike="noStrike">
                          <a:effectLst/>
                        </a:rPr>
                        <a:t>Fluoride as F</a:t>
                      </a:r>
                      <a:endParaRPr lang="en-SG" sz="1200" b="0" i="0" u="none" strike="noStrike">
                        <a:solidFill>
                          <a:srgbClr val="000000"/>
                        </a:solidFill>
                        <a:effectLst/>
                        <a:latin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u="none" strike="noStrike">
                          <a:effectLst/>
                        </a:rPr>
                        <a:t>0.0%</a:t>
                      </a:r>
                      <a:endParaRPr lang="en-SG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4431322"/>
                  </a:ext>
                </a:extLst>
              </a:tr>
              <a:tr h="316966"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u="none" strike="noStrike">
                          <a:effectLst/>
                        </a:rPr>
                        <a:t>Chloride as Cl</a:t>
                      </a:r>
                      <a:endParaRPr lang="en-SG" sz="1200" b="0" i="0" u="none" strike="noStrike">
                        <a:solidFill>
                          <a:srgbClr val="000000"/>
                        </a:solidFill>
                        <a:effectLst/>
                        <a:latin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u="none" strike="noStrike">
                          <a:effectLst/>
                        </a:rPr>
                        <a:t>5.5%</a:t>
                      </a:r>
                      <a:endParaRPr lang="en-SG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88411"/>
                  </a:ext>
                </a:extLst>
              </a:tr>
              <a:tr h="380359"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u="none" strike="noStrike" dirty="0">
                          <a:effectLst/>
                        </a:rPr>
                        <a:t>Phosphate as PO</a:t>
                      </a:r>
                      <a:r>
                        <a:rPr lang="en-SG" sz="1200" u="none" strike="noStrike" baseline="-25000" dirty="0">
                          <a:effectLst/>
                        </a:rPr>
                        <a:t>4</a:t>
                      </a:r>
                      <a:endParaRPr lang="en-SG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u="none" strike="noStrike" dirty="0">
                          <a:effectLst/>
                        </a:rPr>
                        <a:t> 0.0%</a:t>
                      </a:r>
                      <a:endParaRPr lang="en-SG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6313356"/>
                  </a:ext>
                </a:extLst>
              </a:tr>
              <a:tr h="380359"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b="1" u="none" strike="noStrike" dirty="0">
                          <a:effectLst/>
                        </a:rPr>
                        <a:t>Sulphate as SO</a:t>
                      </a:r>
                      <a:r>
                        <a:rPr lang="en-SG" sz="1200" b="1" u="none" strike="noStrike" baseline="-25000" dirty="0">
                          <a:effectLst/>
                        </a:rPr>
                        <a:t>4</a:t>
                      </a:r>
                      <a:endParaRPr lang="en-SG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b="1" u="none" strike="noStrike" dirty="0">
                          <a:effectLst/>
                        </a:rPr>
                        <a:t>55.0%</a:t>
                      </a:r>
                      <a:endParaRPr lang="en-SG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6019635"/>
                  </a:ext>
                </a:extLst>
              </a:tr>
              <a:tr h="380359"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u="none" strike="noStrike">
                          <a:effectLst/>
                        </a:rPr>
                        <a:t>Nitrate as NO</a:t>
                      </a:r>
                      <a:r>
                        <a:rPr lang="en-SG" sz="1200" u="none" strike="noStrike" baseline="-25000">
                          <a:effectLst/>
                        </a:rPr>
                        <a:t>3</a:t>
                      </a:r>
                      <a:endParaRPr lang="en-SG" sz="1200" b="0" i="0" u="none" strike="noStrike">
                        <a:solidFill>
                          <a:srgbClr val="000000"/>
                        </a:solidFill>
                        <a:effectLst/>
                        <a:latin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u="none" strike="noStrike" dirty="0">
                          <a:effectLst/>
                        </a:rPr>
                        <a:t>0.0%</a:t>
                      </a:r>
                      <a:endParaRPr lang="en-SG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6821925"/>
                  </a:ext>
                </a:extLst>
              </a:tr>
              <a:tr h="316966"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u="none" strike="noStrike">
                          <a:effectLst/>
                        </a:rPr>
                        <a:t>Calcium as Ca</a:t>
                      </a:r>
                      <a:endParaRPr lang="en-SG" sz="1200" b="0" i="0" u="none" strike="noStrike">
                        <a:solidFill>
                          <a:srgbClr val="000000"/>
                        </a:solidFill>
                        <a:effectLst/>
                        <a:latin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u="none" strike="noStrike">
                          <a:effectLst/>
                        </a:rPr>
                        <a:t>0.0%</a:t>
                      </a:r>
                      <a:endParaRPr lang="en-SG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6817558"/>
                  </a:ext>
                </a:extLst>
              </a:tr>
              <a:tr h="316966"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u="none" strike="noStrike">
                          <a:effectLst/>
                        </a:rPr>
                        <a:t>Magnesium as Mg</a:t>
                      </a:r>
                      <a:endParaRPr lang="en-SG" sz="1200" b="0" i="0" u="none" strike="noStrike">
                        <a:solidFill>
                          <a:srgbClr val="000000"/>
                        </a:solidFill>
                        <a:effectLst/>
                        <a:latin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u="none" strike="noStrike" dirty="0">
                          <a:effectLst/>
                        </a:rPr>
                        <a:t>0.0%</a:t>
                      </a:r>
                      <a:endParaRPr lang="en-SG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8550048"/>
                  </a:ext>
                </a:extLst>
              </a:tr>
              <a:tr h="316966"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u="none" strike="noStrike">
                          <a:effectLst/>
                        </a:rPr>
                        <a:t>Potassium as K </a:t>
                      </a:r>
                      <a:endParaRPr lang="en-SG" sz="1200" b="0" i="0" u="none" strike="noStrike">
                        <a:solidFill>
                          <a:srgbClr val="000000"/>
                        </a:solidFill>
                        <a:effectLst/>
                        <a:latin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u="none" strike="noStrike">
                          <a:effectLst/>
                        </a:rPr>
                        <a:t>0.2%</a:t>
                      </a:r>
                      <a:endParaRPr lang="en-SG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8974519"/>
                  </a:ext>
                </a:extLst>
              </a:tr>
              <a:tr h="316966"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u="none" strike="noStrike">
                          <a:effectLst/>
                        </a:rPr>
                        <a:t>Total Silica SiO2 </a:t>
                      </a:r>
                      <a:endParaRPr lang="en-SG" sz="1200" b="0" i="0" u="none" strike="noStrike">
                        <a:solidFill>
                          <a:srgbClr val="000000"/>
                        </a:solidFill>
                        <a:effectLst/>
                        <a:latin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u="none" strike="noStrike">
                          <a:effectLst/>
                        </a:rPr>
                        <a:t>0.0%</a:t>
                      </a:r>
                      <a:endParaRPr lang="en-SG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8974979"/>
                  </a:ext>
                </a:extLst>
              </a:tr>
              <a:tr h="316966"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b="1" u="none" strike="noStrike">
                          <a:effectLst/>
                        </a:rPr>
                        <a:t>Sodium as Na</a:t>
                      </a:r>
                      <a:endParaRPr lang="en-SG" sz="1200" b="1" i="0" u="none" strike="noStrike">
                        <a:solidFill>
                          <a:srgbClr val="000000"/>
                        </a:solidFill>
                        <a:effectLst/>
                        <a:latin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b="1" u="none" strike="noStrike" dirty="0">
                          <a:effectLst/>
                        </a:rPr>
                        <a:t>39.2%</a:t>
                      </a:r>
                      <a:endParaRPr lang="en-SG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89863549"/>
                  </a:ext>
                </a:extLst>
              </a:tr>
              <a:tr h="316966"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u="none" strike="noStrike">
                          <a:effectLst/>
                        </a:rPr>
                        <a:t>Strontium as Sr </a:t>
                      </a:r>
                      <a:endParaRPr lang="en-SG" sz="1200" b="0" i="0" u="none" strike="noStrike">
                        <a:solidFill>
                          <a:srgbClr val="000000"/>
                        </a:solidFill>
                        <a:effectLst/>
                        <a:latin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u="none" strike="noStrike" dirty="0">
                          <a:effectLst/>
                        </a:rPr>
                        <a:t>0.0%</a:t>
                      </a:r>
                      <a:endParaRPr lang="en-SG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1590769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3453586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8E01EFA-4F10-F218-ADEC-39A267C5FD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29434" y="240555"/>
            <a:ext cx="8394857" cy="1084000"/>
          </a:xfrm>
        </p:spPr>
        <p:txBody>
          <a:bodyPr/>
          <a:lstStyle/>
          <a:p>
            <a:r>
              <a:rPr lang="en-SG" dirty="0"/>
              <a:t>CGE and ATFD for Mixed salts: Experimental results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366CD054-8C66-3E2C-9AB3-78C290606E5F}"/>
              </a:ext>
            </a:extLst>
          </p:cNvPr>
          <p:cNvSpPr txBox="1">
            <a:spLocks/>
          </p:cNvSpPr>
          <p:nvPr/>
        </p:nvSpPr>
        <p:spPr>
          <a:xfrm>
            <a:off x="729996" y="1476955"/>
            <a:ext cx="11488434" cy="579152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endParaRPr lang="en-US" kern="0" dirty="0">
              <a:solidFill>
                <a:schemeClr val="accent6">
                  <a:lumMod val="90000"/>
                  <a:lumOff val="10000"/>
                </a:schemeClr>
              </a:solidFill>
            </a:endParaRPr>
          </a:p>
        </p:txBody>
      </p:sp>
      <p:pic>
        <p:nvPicPr>
          <p:cNvPr id="7" name="Content Placeholder 6" descr="A picture containing bottle, vessel, indoor, surface&#10;&#10;Description automatically generated">
            <a:extLst>
              <a:ext uri="{FF2B5EF4-FFF2-40B4-BE49-F238E27FC236}">
                <a16:creationId xmlns:a16="http://schemas.microsoft.com/office/drawing/2014/main" id="{97D28D30-1E51-63E7-6BE2-FDC8D5833EC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62559" y="1699398"/>
            <a:ext cx="3841401" cy="4755856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0908D8B-74AA-3804-AB1C-FC3F2BB5A4B2}"/>
              </a:ext>
            </a:extLst>
          </p:cNvPr>
          <p:cNvSpPr txBox="1"/>
          <p:nvPr/>
        </p:nvSpPr>
        <p:spPr>
          <a:xfrm>
            <a:off x="8305381" y="1885341"/>
            <a:ext cx="2637819" cy="369332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r>
              <a:rPr lang="en-SG" dirty="0"/>
              <a:t>Mixed salt after ATFD</a:t>
            </a:r>
          </a:p>
        </p:txBody>
      </p: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2E01B361-F236-A27B-F36D-7D1F0ACD56F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00966105"/>
              </p:ext>
            </p:extLst>
          </p:nvPr>
        </p:nvGraphicFramePr>
        <p:xfrm>
          <a:off x="1581760" y="1597028"/>
          <a:ext cx="5243912" cy="421746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780701">
                  <a:extLst>
                    <a:ext uri="{9D8B030D-6E8A-4147-A177-3AD203B41FA5}">
                      <a16:colId xmlns:a16="http://schemas.microsoft.com/office/drawing/2014/main" val="3991130115"/>
                    </a:ext>
                  </a:extLst>
                </a:gridCol>
                <a:gridCol w="1463211">
                  <a:extLst>
                    <a:ext uri="{9D8B030D-6E8A-4147-A177-3AD203B41FA5}">
                      <a16:colId xmlns:a16="http://schemas.microsoft.com/office/drawing/2014/main" val="118760137"/>
                    </a:ext>
                  </a:extLst>
                </a:gridCol>
              </a:tblGrid>
              <a:tr h="693590"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Parameter </a:t>
                      </a:r>
                      <a:endParaRPr lang="en-SG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728A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Mixed salts </a:t>
                      </a:r>
                      <a:endParaRPr lang="en-SG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728A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5844971"/>
                  </a:ext>
                </a:extLst>
              </a:tr>
              <a:tr h="303782"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u="none" strike="noStrike" dirty="0">
                          <a:effectLst/>
                        </a:rPr>
                        <a:t>Fluoride as F</a:t>
                      </a:r>
                      <a:endParaRPr lang="en-SG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u="none" strike="noStrike">
                          <a:effectLst/>
                        </a:rPr>
                        <a:t>0.1%</a:t>
                      </a:r>
                      <a:endParaRPr lang="en-SG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0068098"/>
                  </a:ext>
                </a:extLst>
              </a:tr>
              <a:tr h="303782"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u="none" strike="noStrike">
                          <a:effectLst/>
                        </a:rPr>
                        <a:t>Chloride as Cl</a:t>
                      </a:r>
                      <a:endParaRPr lang="en-SG" sz="1200" b="0" i="0" u="none" strike="noStrike">
                        <a:solidFill>
                          <a:srgbClr val="000000"/>
                        </a:solidFill>
                        <a:effectLst/>
                        <a:latin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u="none" strike="noStrike">
                          <a:effectLst/>
                        </a:rPr>
                        <a:t>24.4%</a:t>
                      </a:r>
                      <a:endParaRPr lang="en-SG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5276877"/>
                  </a:ext>
                </a:extLst>
              </a:tr>
              <a:tr h="364540"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u="none" strike="noStrike" dirty="0">
                          <a:effectLst/>
                        </a:rPr>
                        <a:t>Phosphate as PO</a:t>
                      </a:r>
                      <a:r>
                        <a:rPr lang="en-SG" sz="1200" u="none" strike="noStrike" baseline="-25000" dirty="0">
                          <a:effectLst/>
                        </a:rPr>
                        <a:t>4</a:t>
                      </a:r>
                      <a:endParaRPr lang="en-SG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u="none" strike="noStrike" dirty="0">
                          <a:effectLst/>
                        </a:rPr>
                        <a:t>0.0% </a:t>
                      </a:r>
                      <a:endParaRPr lang="en-SG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6898881"/>
                  </a:ext>
                </a:extLst>
              </a:tr>
              <a:tr h="364540"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u="none" strike="noStrike">
                          <a:effectLst/>
                        </a:rPr>
                        <a:t>Sulphate as SO</a:t>
                      </a:r>
                      <a:r>
                        <a:rPr lang="en-SG" sz="1200" u="none" strike="noStrike" baseline="-25000">
                          <a:effectLst/>
                        </a:rPr>
                        <a:t>4</a:t>
                      </a:r>
                      <a:endParaRPr lang="en-SG" sz="1200" b="0" i="0" u="none" strike="noStrike">
                        <a:solidFill>
                          <a:srgbClr val="000000"/>
                        </a:solidFill>
                        <a:effectLst/>
                        <a:latin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u="none" strike="noStrike">
                          <a:effectLst/>
                        </a:rPr>
                        <a:t>37.5%</a:t>
                      </a:r>
                      <a:endParaRPr lang="en-SG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1777547"/>
                  </a:ext>
                </a:extLst>
              </a:tr>
              <a:tr h="364540"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u="none" strike="noStrike">
                          <a:effectLst/>
                        </a:rPr>
                        <a:t>Nitrate as NO</a:t>
                      </a:r>
                      <a:r>
                        <a:rPr lang="en-SG" sz="1200" u="none" strike="noStrike" baseline="-25000">
                          <a:effectLst/>
                        </a:rPr>
                        <a:t>3</a:t>
                      </a:r>
                      <a:endParaRPr lang="en-SG" sz="1200" b="0" i="0" u="none" strike="noStrike">
                        <a:solidFill>
                          <a:srgbClr val="000000"/>
                        </a:solidFill>
                        <a:effectLst/>
                        <a:latin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u="none" strike="noStrike" dirty="0">
                          <a:effectLst/>
                        </a:rPr>
                        <a:t>0.0%</a:t>
                      </a:r>
                      <a:endParaRPr lang="en-SG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08052550"/>
                  </a:ext>
                </a:extLst>
              </a:tr>
              <a:tr h="303782"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u="none" strike="noStrike">
                          <a:effectLst/>
                        </a:rPr>
                        <a:t>Calcium as Ca</a:t>
                      </a:r>
                      <a:endParaRPr lang="en-SG" sz="1200" b="0" i="0" u="none" strike="noStrike">
                        <a:solidFill>
                          <a:srgbClr val="000000"/>
                        </a:solidFill>
                        <a:effectLst/>
                        <a:latin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u="none" strike="noStrike" dirty="0">
                          <a:effectLst/>
                        </a:rPr>
                        <a:t>0.1%</a:t>
                      </a:r>
                      <a:endParaRPr lang="en-SG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9109704"/>
                  </a:ext>
                </a:extLst>
              </a:tr>
              <a:tr h="303782"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u="none" strike="noStrike">
                          <a:effectLst/>
                        </a:rPr>
                        <a:t>Magnesium as Mg</a:t>
                      </a:r>
                      <a:endParaRPr lang="en-SG" sz="1200" b="0" i="0" u="none" strike="noStrike">
                        <a:solidFill>
                          <a:srgbClr val="000000"/>
                        </a:solidFill>
                        <a:effectLst/>
                        <a:latin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u="none" strike="noStrike">
                          <a:effectLst/>
                        </a:rPr>
                        <a:t>0.1%</a:t>
                      </a:r>
                      <a:endParaRPr lang="en-SG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1129494"/>
                  </a:ext>
                </a:extLst>
              </a:tr>
              <a:tr h="303782"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u="none" strike="noStrike">
                          <a:effectLst/>
                        </a:rPr>
                        <a:t>Potassium as K </a:t>
                      </a:r>
                      <a:endParaRPr lang="en-SG" sz="1200" b="0" i="0" u="none" strike="noStrike">
                        <a:solidFill>
                          <a:srgbClr val="000000"/>
                        </a:solidFill>
                        <a:effectLst/>
                        <a:latin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u="none" strike="noStrike" dirty="0">
                          <a:effectLst/>
                        </a:rPr>
                        <a:t>4.9%</a:t>
                      </a:r>
                      <a:endParaRPr lang="en-SG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2960773"/>
                  </a:ext>
                </a:extLst>
              </a:tr>
              <a:tr h="303782"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u="none" strike="noStrike">
                          <a:effectLst/>
                        </a:rPr>
                        <a:t>Total Silica SiO2 </a:t>
                      </a:r>
                      <a:endParaRPr lang="en-SG" sz="1200" b="0" i="0" u="none" strike="noStrike">
                        <a:solidFill>
                          <a:srgbClr val="000000"/>
                        </a:solidFill>
                        <a:effectLst/>
                        <a:latin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u="none" strike="noStrike">
                          <a:effectLst/>
                        </a:rPr>
                        <a:t>0.1%</a:t>
                      </a:r>
                      <a:endParaRPr lang="en-SG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9845511"/>
                  </a:ext>
                </a:extLst>
              </a:tr>
              <a:tr h="303782"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u="none" strike="noStrike">
                          <a:effectLst/>
                        </a:rPr>
                        <a:t>Sodium as Na</a:t>
                      </a:r>
                      <a:endParaRPr lang="en-SG" sz="1200" b="0" i="0" u="none" strike="noStrike">
                        <a:solidFill>
                          <a:srgbClr val="000000"/>
                        </a:solidFill>
                        <a:effectLst/>
                        <a:latin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u="none" strike="noStrike">
                          <a:effectLst/>
                        </a:rPr>
                        <a:t>32.8%</a:t>
                      </a:r>
                      <a:endParaRPr lang="en-SG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7811229"/>
                  </a:ext>
                </a:extLst>
              </a:tr>
              <a:tr h="303782"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u="none" strike="noStrike">
                          <a:effectLst/>
                        </a:rPr>
                        <a:t>Strontium as Sr </a:t>
                      </a:r>
                      <a:endParaRPr lang="en-SG" sz="1200" b="0" i="0" u="none" strike="noStrike">
                        <a:solidFill>
                          <a:srgbClr val="000000"/>
                        </a:solidFill>
                        <a:effectLst/>
                        <a:latin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u="none" strike="noStrike" dirty="0">
                          <a:effectLst/>
                        </a:rPr>
                        <a:t>0.0%</a:t>
                      </a:r>
                      <a:endParaRPr lang="en-SG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843797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8180458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8E01EFA-4F10-F218-ADEC-39A267C5FD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SG" dirty="0"/>
              <a:t>Conclusion/summary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A71F1D78-DB66-C268-DB5A-EF276CF9B153}"/>
              </a:ext>
            </a:extLst>
          </p:cNvPr>
          <p:cNvSpPr txBox="1">
            <a:spLocks/>
          </p:cNvSpPr>
          <p:nvPr/>
        </p:nvSpPr>
        <p:spPr>
          <a:xfrm>
            <a:off x="577596" y="1324555"/>
            <a:ext cx="11134113" cy="3940172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4290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90000"/>
                    <a:lumOff val="10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uccessfully achieved the target concentration of brine &gt;230000 mg/l using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chemeClr val="accent6">
                    <a:lumMod val="90000"/>
                    <a:lumOff val="10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Oi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90000"/>
                    <a:lumOff val="10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stage 1 </a:t>
            </a:r>
            <a:r>
              <a:rPr lang="en-US" sz="2000" dirty="0">
                <a:solidFill>
                  <a:schemeClr val="accent6">
                    <a:lumMod val="90000"/>
                    <a:lumOff val="10000"/>
                  </a:schemeClr>
                </a:solidFill>
                <a:latin typeface="Calibri"/>
                <a:ea typeface="+mn-ea"/>
                <a:cs typeface="+mn-cs"/>
              </a:rPr>
              <a:t>and stage 2 membrane technology.</a:t>
            </a:r>
          </a:p>
          <a:p>
            <a:pPr marL="34290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90000"/>
                    <a:lumOff val="10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et the reclaimed treated water quality: &lt;75 mg/L of TDS.</a:t>
            </a:r>
          </a:p>
          <a:p>
            <a:pPr marL="34290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90000"/>
                    <a:lumOff val="10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dentified the optimized dosage of chemicals to </a:t>
            </a:r>
            <a:r>
              <a:rPr lang="en-US" sz="2000" dirty="0">
                <a:solidFill>
                  <a:schemeClr val="accent6">
                    <a:lumMod val="90000"/>
                    <a:lumOff val="10000"/>
                  </a:schemeClr>
                </a:solidFill>
                <a:latin typeface="Calibri"/>
                <a:ea typeface="+mn-ea"/>
                <a:cs typeface="+mn-cs"/>
              </a:rPr>
              <a:t>reduce the scaling and maximize the recovery.</a:t>
            </a:r>
          </a:p>
          <a:p>
            <a:pPr marL="34290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accent6">
                    <a:lumMod val="90000"/>
                    <a:lumOff val="10000"/>
                  </a:schemeClr>
                </a:solidFill>
                <a:latin typeface="Calibri"/>
                <a:ea typeface="+mn-ea"/>
                <a:cs typeface="+mn-cs"/>
              </a:rPr>
              <a:t>Conducted the Adiabatic chiller, CGE, and ATFD/centrifuge experiments to validate the sodium sulfate-rich salts and mixed salts.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chemeClr val="accent6">
                  <a:lumMod val="90000"/>
                  <a:lumOff val="10000"/>
                </a:scheme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SG" sz="2000" b="0" i="0" u="none" strike="noStrike" kern="1200" cap="none" spc="0" normalizeH="0" baseline="0" noProof="0" dirty="0">
              <a:ln>
                <a:noFill/>
              </a:ln>
              <a:solidFill>
                <a:schemeClr val="accent6">
                  <a:lumMod val="90000"/>
                  <a:lumOff val="10000"/>
                </a:scheme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4290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endParaRPr lang="en-US" kern="0" dirty="0">
              <a:solidFill>
                <a:schemeClr val="accent6">
                  <a:lumMod val="90000"/>
                  <a:lumOff val="1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592357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09FB5D6F-7BA1-49FF-B029-BBBA846CDE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52903" y="279151"/>
            <a:ext cx="9629497" cy="1143000"/>
          </a:xfrm>
        </p:spPr>
        <p:txBody>
          <a:bodyPr anchor="ctr">
            <a:normAutofit/>
          </a:bodyPr>
          <a:lstStyle/>
          <a:p>
            <a:r>
              <a:rPr lang="en-US" b="1" dirty="0"/>
              <a:t>TREATED WATER QUALIT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4EBB35-76D0-495A-AFFC-1C2958C2EBA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088768" y="6207206"/>
            <a:ext cx="2493631" cy="365125"/>
          </a:xfrm>
        </p:spPr>
        <p:txBody>
          <a:bodyPr wrap="square" anchor="ctr">
            <a:norm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Helvetica Neue Light"/>
              <a:ea typeface="+mn-ea"/>
            </a:endParaRPr>
          </a:p>
          <a:p>
            <a:pPr marL="0" marR="0" lvl="0" indent="0" algn="ctr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2FD824EB-FD9A-456A-ADCA-8E4DF56EFC79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Helvetica Neue Light"/>
                <a:ea typeface="+mn-ea"/>
              </a:rPr>
              <a:pPr marL="0" marR="0" lvl="0" indent="0" algn="ctr" defTabSz="4572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Helvetica Neue Light"/>
              <a:ea typeface="+mn-ea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3629EA7-D36F-5E7E-2E38-02B5FECC82B6}"/>
              </a:ext>
            </a:extLst>
          </p:cNvPr>
          <p:cNvSpPr txBox="1"/>
          <p:nvPr/>
        </p:nvSpPr>
        <p:spPr>
          <a:xfrm>
            <a:off x="681868" y="2018863"/>
            <a:ext cx="8835758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SG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Reclaim treated water quality :&lt;75 mg/l of TDS</a:t>
            </a:r>
          </a:p>
          <a:p>
            <a:pPr marL="285750" marR="0" lvl="0" indent="-28575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SG" sz="20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marR="0" lvl="0" indent="-28575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Brine TDS concentration </a:t>
            </a:r>
            <a:r>
              <a:rPr kumimoji="0" lang="en-SG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s &gt;230,000 mg/L, followed by ZLD system</a:t>
            </a:r>
          </a:p>
          <a:p>
            <a:pPr marL="285750" marR="0" lvl="0" indent="-28575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SG" sz="20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marR="0" lvl="0" indent="-28575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SG" sz="20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marR="0" lvl="0" indent="-28575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SG" sz="20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1310178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3653341-00D6-9CC5-6BBD-34D237394AE1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" smtClean="0"/>
              <a:pPr/>
              <a:t>30</a:t>
            </a:fld>
            <a:endParaRPr lang="e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7DED5BB-EDCD-2EDD-EFA0-109A8F195B6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SG" dirty="0"/>
              <a:t>Back up</a:t>
            </a:r>
          </a:p>
        </p:txBody>
      </p:sp>
    </p:spTree>
    <p:extLst>
      <p:ext uri="{BB962C8B-B14F-4D97-AF65-F5344CB8AC3E}">
        <p14:creationId xmlns:p14="http://schemas.microsoft.com/office/powerpoint/2010/main" val="270531023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2236DB8D-1012-4BA3-A0DD-BF1C9579946F}"/>
              </a:ext>
            </a:extLst>
          </p:cNvPr>
          <p:cNvSpPr txBox="1">
            <a:spLocks/>
          </p:cNvSpPr>
          <p:nvPr/>
        </p:nvSpPr>
        <p:spPr>
          <a:xfrm>
            <a:off x="5086902" y="6448989"/>
            <a:ext cx="2660639" cy="48683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286000" algn="l" defTabSz="914400" rtl="0" eaLnBrk="1" latinLnBrk="0" hangingPunct="1">
              <a:defRPr sz="14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743200" algn="l" defTabSz="914400" rtl="0" eaLnBrk="1" latinLnBrk="0" hangingPunct="1">
              <a:defRPr sz="14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200400" algn="l" defTabSz="914400" rtl="0" eaLnBrk="1" latinLnBrk="0" hangingPunct="1">
              <a:defRPr sz="14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657600" algn="l" defTabSz="914400" rtl="0" eaLnBrk="1" latinLnBrk="0" hangingPunct="1">
              <a:defRPr sz="14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0" marR="0" lvl="0" indent="0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GRADIANT CONFIDENTIAL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B873FB3-A5DD-ABA5-B37C-FE10FAA76CB9}"/>
              </a:ext>
            </a:extLst>
          </p:cNvPr>
          <p:cNvSpPr/>
          <p:nvPr/>
        </p:nvSpPr>
        <p:spPr>
          <a:xfrm>
            <a:off x="361287" y="946250"/>
            <a:ext cx="11469425" cy="1631216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685702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851" algn="l" defTabSz="685702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02" algn="l" defTabSz="685702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553" algn="l" defTabSz="685702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404" algn="l" defTabSz="685702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256" algn="l" defTabSz="685702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107" algn="l" defTabSz="685702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958" algn="l" defTabSz="685702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809" algn="l" defTabSz="685702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0" b="0" i="0" u="none" strike="noStrike" kern="1200" cap="none" spc="0" normalizeH="0" baseline="0" noProof="0" dirty="0">
                <a:ln>
                  <a:noFill/>
                </a:ln>
                <a:solidFill>
                  <a:srgbClr val="5F7584"/>
                </a:solidFill>
                <a:effectLst/>
                <a:uLnTx/>
                <a:uFillTx/>
                <a:latin typeface="TT Norms Regular" panose="02000503030000020003" pitchFamily="50" charset="0"/>
                <a:ea typeface="Verdana" panose="020B0604030504040204" pitchFamily="34" charset="0"/>
                <a:cs typeface="HelveticaNeue LT 45 Light"/>
              </a:rPr>
              <a:t>PFAS Removal Technology</a:t>
            </a:r>
          </a:p>
          <a:p>
            <a:pPr marL="0" marR="0" lvl="0" indent="0" algn="l" defTabSz="685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000" b="0" i="0" u="none" strike="noStrike" kern="1200" cap="none" spc="0" normalizeH="0" baseline="0" noProof="0" dirty="0">
              <a:ln>
                <a:noFill/>
              </a:ln>
              <a:solidFill>
                <a:srgbClr val="5F7584"/>
              </a:solidFill>
              <a:effectLst/>
              <a:uLnTx/>
              <a:uFillTx/>
              <a:latin typeface="TT Norms Regular" panose="02000503030000020003" pitchFamily="50" charset="0"/>
              <a:ea typeface="Verdana" panose="020B0604030504040204" pitchFamily="34" charset="0"/>
              <a:cs typeface="HelveticaNeue LT 45 Light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016B0DC-40F9-1671-D0A3-7ED4C015FF26}"/>
              </a:ext>
            </a:extLst>
          </p:cNvPr>
          <p:cNvCxnSpPr>
            <a:cxnSpLocks/>
          </p:cNvCxnSpPr>
          <p:nvPr/>
        </p:nvCxnSpPr>
        <p:spPr>
          <a:xfrm>
            <a:off x="444497" y="2802881"/>
            <a:ext cx="6497903" cy="0"/>
          </a:xfrm>
          <a:prstGeom prst="line">
            <a:avLst/>
          </a:prstGeom>
          <a:ln w="57150">
            <a:solidFill>
              <a:srgbClr val="29A6D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7597232B-CE1E-ECA6-2990-0E88D850F396}"/>
              </a:ext>
            </a:extLst>
          </p:cNvPr>
          <p:cNvSpPr/>
          <p:nvPr/>
        </p:nvSpPr>
        <p:spPr>
          <a:xfrm>
            <a:off x="444497" y="3237280"/>
            <a:ext cx="5136126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685702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851" algn="l" defTabSz="685702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02" algn="l" defTabSz="685702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553" algn="l" defTabSz="685702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404" algn="l" defTabSz="685702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256" algn="l" defTabSz="685702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107" algn="l" defTabSz="685702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958" algn="l" defTabSz="685702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809" algn="l" defTabSz="685702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HelveticaNeue LT 45 Light"/>
            </a:endParaRPr>
          </a:p>
          <a:p>
            <a:pPr marL="0" marR="0" lvl="0" indent="0" algn="l" defTabSz="685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5F7584"/>
              </a:solidFill>
              <a:effectLst/>
              <a:uLnTx/>
              <a:uFillTx/>
              <a:latin typeface="TT Norms Regular" panose="02000503030000020003" pitchFamily="50" charset="0"/>
              <a:ea typeface="Verdana" panose="020B0604030504040204" pitchFamily="34" charset="0"/>
              <a:cs typeface="HelveticaNeue LT 45 Light"/>
            </a:endParaRPr>
          </a:p>
          <a:p>
            <a:pPr marL="0" marR="0" lvl="0" indent="0" algn="l" defTabSz="685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5F7584"/>
              </a:solidFill>
              <a:effectLst/>
              <a:uLnTx/>
              <a:uFillTx/>
              <a:latin typeface="TT Norms Regular" panose="02000503030000020003" pitchFamily="50" charset="0"/>
              <a:ea typeface="Verdana" panose="020B0604030504040204" pitchFamily="34" charset="0"/>
              <a:cs typeface="HelveticaNeue LT 45 Light"/>
            </a:endParaRPr>
          </a:p>
          <a:p>
            <a:pPr marL="0" marR="0" lvl="0" indent="0" algn="l" defTabSz="685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5F7584"/>
              </a:solidFill>
              <a:effectLst/>
              <a:uLnTx/>
              <a:uFillTx/>
              <a:latin typeface="TT Norms Regular" panose="02000503030000020003" pitchFamily="50" charset="0"/>
              <a:ea typeface="Verdana" panose="020B0604030504040204" pitchFamily="34" charset="0"/>
              <a:cs typeface="HelveticaNeue LT 45 Light"/>
            </a:endParaRPr>
          </a:p>
          <a:p>
            <a:pPr marL="0" marR="0" lvl="0" indent="0" algn="l" defTabSz="685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5F7584"/>
              </a:solidFill>
              <a:effectLst/>
              <a:uLnTx/>
              <a:uFillTx/>
              <a:latin typeface="TT Norms Regular" panose="02000503030000020003" pitchFamily="50" charset="0"/>
              <a:ea typeface="Verdana" panose="020B0604030504040204" pitchFamily="34" charset="0"/>
              <a:cs typeface="HelveticaNeue LT 45 Light"/>
            </a:endParaRPr>
          </a:p>
          <a:p>
            <a:pPr marL="0" marR="0" lvl="0" indent="0" algn="l" defTabSz="685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HelveticaNeue LT 45 Light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06B550B-1653-6CE2-55C7-17B3A4C2A9A6}"/>
              </a:ext>
            </a:extLst>
          </p:cNvPr>
          <p:cNvSpPr/>
          <p:nvPr/>
        </p:nvSpPr>
        <p:spPr>
          <a:xfrm>
            <a:off x="402893" y="2839076"/>
            <a:ext cx="7028358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685702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851" algn="l" defTabSz="685702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02" algn="l" defTabSz="685702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553" algn="l" defTabSz="685702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404" algn="l" defTabSz="685702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256" algn="l" defTabSz="685702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107" algn="l" defTabSz="685702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958" algn="l" defTabSz="685702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809" algn="l" defTabSz="685702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5F7584"/>
                </a:solidFill>
                <a:effectLst/>
                <a:uLnTx/>
                <a:uFillTx/>
                <a:latin typeface="TT Norms Regular" panose="02000503030000020003" pitchFamily="50" charset="0"/>
                <a:ea typeface="Verdana" panose="020B0604030504040204" pitchFamily="34" charset="0"/>
                <a:cs typeface="HelveticaNeue LT 45 Light"/>
              </a:rPr>
              <a:t>Foam Fractionation - Separation</a:t>
            </a:r>
          </a:p>
          <a:p>
            <a:pPr marL="0" marR="0" lvl="0" indent="0" algn="l" defTabSz="685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1" dirty="0">
                <a:solidFill>
                  <a:srgbClr val="5F7584"/>
                </a:solidFill>
                <a:latin typeface="TT Norms Regular" panose="02000503030000020003" pitchFamily="50" charset="0"/>
                <a:ea typeface="Verdana" panose="020B0604030504040204" pitchFamily="34" charset="0"/>
                <a:cs typeface="HelveticaNeue LT 45 Light"/>
              </a:rPr>
              <a:t>Electrochemical Oxidation (EO) - Destruction</a:t>
            </a:r>
          </a:p>
          <a:p>
            <a:pPr marL="0" marR="0" lvl="0" indent="0" algn="l" defTabSz="685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5F7584"/>
              </a:solidFill>
              <a:effectLst/>
              <a:uLnTx/>
              <a:uFillTx/>
              <a:latin typeface="TT Norms Regular" panose="02000503030000020003" pitchFamily="50" charset="0"/>
              <a:ea typeface="Verdana" panose="020B0604030504040204" pitchFamily="34" charset="0"/>
              <a:cs typeface="HelveticaNeue LT 45 Light"/>
            </a:endParaRPr>
          </a:p>
        </p:txBody>
      </p:sp>
      <p:pic>
        <p:nvPicPr>
          <p:cNvPr id="7" name="Picture 8">
            <a:extLst>
              <a:ext uri="{FF2B5EF4-FFF2-40B4-BE49-F238E27FC236}">
                <a16:creationId xmlns:a16="http://schemas.microsoft.com/office/drawing/2014/main" id="{A8BC961C-5926-99BC-88E3-8CB850AF7DE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465" t="14699" r="13434" b="11632"/>
          <a:stretch/>
        </p:blipFill>
        <p:spPr bwMode="auto">
          <a:xfrm>
            <a:off x="7472856" y="616047"/>
            <a:ext cx="4524026" cy="27170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 descr="Diagram&#10;&#10;Description automatically generated">
            <a:extLst>
              <a:ext uri="{FF2B5EF4-FFF2-40B4-BE49-F238E27FC236}">
                <a16:creationId xmlns:a16="http://schemas.microsoft.com/office/drawing/2014/main" id="{F2AF2AF0-31E3-05AB-6F2E-ACF0E85FD91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481" t="49595" r="71405" b="38836"/>
          <a:stretch/>
        </p:blipFill>
        <p:spPr>
          <a:xfrm>
            <a:off x="444497" y="4177235"/>
            <a:ext cx="1555531" cy="500833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0CF0E384-3685-3DD4-E31F-3A29A2DF38F6}"/>
              </a:ext>
            </a:extLst>
          </p:cNvPr>
          <p:cNvSpPr/>
          <p:nvPr/>
        </p:nvSpPr>
        <p:spPr>
          <a:xfrm>
            <a:off x="2000028" y="4030741"/>
            <a:ext cx="1702677" cy="870526"/>
          </a:xfrm>
          <a:prstGeom prst="rect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SG" dirty="0"/>
              <a:t>Foam Fractionation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3BF6190B-C09B-2744-BB4A-0C920CF738E6}"/>
              </a:ext>
            </a:extLst>
          </p:cNvPr>
          <p:cNvCxnSpPr>
            <a:cxnSpLocks/>
            <a:stCxn id="4" idx="3"/>
          </p:cNvCxnSpPr>
          <p:nvPr/>
        </p:nvCxnSpPr>
        <p:spPr>
          <a:xfrm>
            <a:off x="3702705" y="4466004"/>
            <a:ext cx="869295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" name="Rectangle 20">
            <a:extLst>
              <a:ext uri="{FF2B5EF4-FFF2-40B4-BE49-F238E27FC236}">
                <a16:creationId xmlns:a16="http://schemas.microsoft.com/office/drawing/2014/main" id="{8CFF4E07-1EC6-8E83-0A21-F6614BE9E970}"/>
              </a:ext>
            </a:extLst>
          </p:cNvPr>
          <p:cNvSpPr/>
          <p:nvPr/>
        </p:nvSpPr>
        <p:spPr>
          <a:xfrm>
            <a:off x="4582292" y="4029893"/>
            <a:ext cx="2029087" cy="870526"/>
          </a:xfrm>
          <a:prstGeom prst="rect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SG" dirty="0"/>
              <a:t>Electrochemical Oxidation (EO) </a:t>
            </a:r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B010C011-9914-4F60-7A99-D1BDA32E6F64}"/>
              </a:ext>
            </a:extLst>
          </p:cNvPr>
          <p:cNvCxnSpPr>
            <a:cxnSpLocks/>
          </p:cNvCxnSpPr>
          <p:nvPr/>
        </p:nvCxnSpPr>
        <p:spPr>
          <a:xfrm>
            <a:off x="6611379" y="4449346"/>
            <a:ext cx="869295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7EC605FA-CEE9-5CDF-302E-8E36B3CB2887}"/>
              </a:ext>
            </a:extLst>
          </p:cNvPr>
          <p:cNvSpPr txBox="1"/>
          <p:nvPr/>
        </p:nvSpPr>
        <p:spPr>
          <a:xfrm>
            <a:off x="7480674" y="4250465"/>
            <a:ext cx="20290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G" dirty="0">
                <a:solidFill>
                  <a:schemeClr val="bg1"/>
                </a:solidFill>
              </a:rPr>
              <a:t>PFAS Destruction </a:t>
            </a:r>
          </a:p>
        </p:txBody>
      </p:sp>
      <p:cxnSp>
        <p:nvCxnSpPr>
          <p:cNvPr id="25" name="Connector: Elbow 24">
            <a:extLst>
              <a:ext uri="{FF2B5EF4-FFF2-40B4-BE49-F238E27FC236}">
                <a16:creationId xmlns:a16="http://schemas.microsoft.com/office/drawing/2014/main" id="{7BFA48CB-66D0-EFD6-C681-90D0FEFC35E1}"/>
              </a:ext>
            </a:extLst>
          </p:cNvPr>
          <p:cNvCxnSpPr>
            <a:cxnSpLocks/>
            <a:stCxn id="4" idx="2"/>
            <a:endCxn id="27" idx="1"/>
          </p:cNvCxnSpPr>
          <p:nvPr/>
        </p:nvCxnSpPr>
        <p:spPr>
          <a:xfrm rot="16200000" flipH="1">
            <a:off x="2834519" y="4918114"/>
            <a:ext cx="640234" cy="606539"/>
          </a:xfrm>
          <a:prstGeom prst="bentConnector2">
            <a:avLst/>
          </a:prstGeom>
          <a:ln w="190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7" name="Rectangle 26">
            <a:extLst>
              <a:ext uri="{FF2B5EF4-FFF2-40B4-BE49-F238E27FC236}">
                <a16:creationId xmlns:a16="http://schemas.microsoft.com/office/drawing/2014/main" id="{39D6EAE5-03B5-82A5-BB0D-97627A68346F}"/>
              </a:ext>
            </a:extLst>
          </p:cNvPr>
          <p:cNvSpPr/>
          <p:nvPr/>
        </p:nvSpPr>
        <p:spPr>
          <a:xfrm>
            <a:off x="3457906" y="5106238"/>
            <a:ext cx="1702677" cy="870526"/>
          </a:xfrm>
          <a:prstGeom prst="rect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SG" dirty="0"/>
              <a:t>GAC/IX </a:t>
            </a:r>
          </a:p>
          <a:p>
            <a:pPr algn="ctr"/>
            <a:r>
              <a:rPr lang="en-SG" dirty="0"/>
              <a:t>(Polishing)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44FD51FA-62F4-A44A-4506-33A3AAD1BC60}"/>
              </a:ext>
            </a:extLst>
          </p:cNvPr>
          <p:cNvSpPr txBox="1"/>
          <p:nvPr/>
        </p:nvSpPr>
        <p:spPr>
          <a:xfrm>
            <a:off x="265080" y="4750016"/>
            <a:ext cx="155553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G" dirty="0">
                <a:solidFill>
                  <a:schemeClr val="bg1"/>
                </a:solidFill>
              </a:rPr>
              <a:t>PFAS Feed water</a:t>
            </a:r>
          </a:p>
        </p:txBody>
      </p:sp>
    </p:spTree>
    <p:extLst>
      <p:ext uri="{BB962C8B-B14F-4D97-AF65-F5344CB8AC3E}">
        <p14:creationId xmlns:p14="http://schemas.microsoft.com/office/powerpoint/2010/main" val="157400688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B2C392-037F-428E-A134-F31BDF0127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am fractionation - Separation</a:t>
            </a:r>
            <a:br>
              <a:rPr lang="en-US" dirty="0"/>
            </a:br>
            <a:endParaRPr lang="en-SG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E3E2235-CFC4-4EDD-A4DD-4BFD5D2D56DD}"/>
              </a:ext>
            </a:extLst>
          </p:cNvPr>
          <p:cNvSpPr txBox="1"/>
          <p:nvPr/>
        </p:nvSpPr>
        <p:spPr>
          <a:xfrm>
            <a:off x="1151068" y="1277815"/>
            <a:ext cx="9296215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b="0" i="0" dirty="0">
                <a:solidFill>
                  <a:schemeClr val="accent6"/>
                </a:solidFill>
                <a:effectLst/>
                <a:latin typeface="NexusSerif"/>
              </a:rPr>
              <a:t>It is the state-of-the-art technology that uses adsorption-</a:t>
            </a:r>
            <a:r>
              <a:rPr lang="en-US" dirty="0">
                <a:solidFill>
                  <a:schemeClr val="accent6"/>
                </a:solidFill>
                <a:latin typeface="NexusSerif"/>
              </a:rPr>
              <a:t>based </a:t>
            </a:r>
            <a:r>
              <a:rPr lang="en-US" b="0" i="0" dirty="0">
                <a:solidFill>
                  <a:schemeClr val="accent6"/>
                </a:solidFill>
                <a:effectLst/>
                <a:latin typeface="NexusSerif"/>
              </a:rPr>
              <a:t>technique to create many air-liquid interfaces within the solution to achieve PFAS removal. The surface-active PFAS compounds will be adsorbed onto these air-liquid interfaces and separated from waste stream.</a:t>
            </a:r>
          </a:p>
          <a:p>
            <a:endParaRPr lang="en-US" dirty="0">
              <a:solidFill>
                <a:schemeClr val="accent6"/>
              </a:solidFill>
              <a:latin typeface="NexusSerif"/>
            </a:endParaRPr>
          </a:p>
          <a:p>
            <a:endParaRPr lang="en-US" dirty="0">
              <a:solidFill>
                <a:schemeClr val="accent6"/>
              </a:solidFill>
              <a:latin typeface="NexusSerif"/>
            </a:endParaRPr>
          </a:p>
          <a:p>
            <a:endParaRPr lang="en-US" dirty="0">
              <a:solidFill>
                <a:schemeClr val="accent6"/>
              </a:solidFill>
              <a:latin typeface="NexusSerif"/>
            </a:endParaRPr>
          </a:p>
          <a:p>
            <a:endParaRPr lang="en-US" dirty="0">
              <a:solidFill>
                <a:schemeClr val="accent6"/>
              </a:solidFill>
              <a:latin typeface="NexusSerif"/>
            </a:endParaRPr>
          </a:p>
          <a:p>
            <a:endParaRPr lang="en-US" dirty="0">
              <a:solidFill>
                <a:schemeClr val="accent6"/>
              </a:solidFill>
              <a:latin typeface="NexusSerif"/>
            </a:endParaRPr>
          </a:p>
          <a:p>
            <a:endParaRPr lang="en-SG" b="0" i="0" dirty="0">
              <a:solidFill>
                <a:schemeClr val="accent6"/>
              </a:solidFill>
              <a:effectLst/>
              <a:latin typeface="NexusSerif"/>
            </a:endParaRPr>
          </a:p>
          <a:p>
            <a:endParaRPr lang="en-US" b="0" i="0" dirty="0">
              <a:solidFill>
                <a:schemeClr val="accent6"/>
              </a:solidFill>
              <a:effectLst/>
              <a:latin typeface="NexusSerif"/>
            </a:endParaRPr>
          </a:p>
          <a:p>
            <a:endParaRPr lang="en-SG" dirty="0">
              <a:solidFill>
                <a:schemeClr val="accent6"/>
              </a:solidFill>
              <a:latin typeface="NexusSerif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SG" b="0" i="0" dirty="0">
              <a:solidFill>
                <a:schemeClr val="accent6"/>
              </a:solidFill>
              <a:effectLst/>
              <a:latin typeface="NexusSerif"/>
            </a:endParaRPr>
          </a:p>
          <a:p>
            <a:endParaRPr lang="en-SG" b="0" i="0" dirty="0">
              <a:solidFill>
                <a:schemeClr val="accent6"/>
              </a:solidFill>
              <a:effectLst/>
              <a:latin typeface="NexusSerif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SG" b="0" i="0" dirty="0">
              <a:solidFill>
                <a:schemeClr val="accent6"/>
              </a:solidFill>
              <a:effectLst/>
              <a:latin typeface="NexusSerif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SG" b="0" i="0" dirty="0">
              <a:solidFill>
                <a:schemeClr val="accent6"/>
              </a:solidFill>
              <a:effectLst/>
              <a:latin typeface="NexusSerif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0" i="0" dirty="0">
              <a:solidFill>
                <a:schemeClr val="accent6"/>
              </a:solidFill>
              <a:effectLst/>
              <a:latin typeface="NexusSerif"/>
            </a:endParaRPr>
          </a:p>
          <a:p>
            <a:endParaRPr lang="en-SG" dirty="0">
              <a:solidFill>
                <a:schemeClr val="accent6"/>
              </a:solidFill>
            </a:endParaRPr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0C1A67F2-9567-F997-36E7-DABAB90A2A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78610" y="2291659"/>
            <a:ext cx="1994975" cy="36410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59D1567-F244-F262-0755-FDA0280D5D6A}"/>
              </a:ext>
            </a:extLst>
          </p:cNvPr>
          <p:cNvSpPr txBox="1"/>
          <p:nvPr/>
        </p:nvSpPr>
        <p:spPr>
          <a:xfrm>
            <a:off x="8186572" y="6016422"/>
            <a:ext cx="223870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G" sz="1200" dirty="0"/>
              <a:t>Fig. 1. Lab-scale setup for bench testing for various wastewater matrix.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BA76CCA-3427-D01C-C571-7FA027B6023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4861" r="22211"/>
          <a:stretch/>
        </p:blipFill>
        <p:spPr>
          <a:xfrm>
            <a:off x="1569426" y="2272543"/>
            <a:ext cx="6335486" cy="4585457"/>
          </a:xfrm>
          <a:prstGeom prst="rect">
            <a:avLst/>
          </a:prstGeom>
        </p:spPr>
      </p:pic>
      <p:pic>
        <p:nvPicPr>
          <p:cNvPr id="6" name="Picture 5" descr="Shape&#10;&#10;Description automatically generated">
            <a:extLst>
              <a:ext uri="{FF2B5EF4-FFF2-40B4-BE49-F238E27FC236}">
                <a16:creationId xmlns:a16="http://schemas.microsoft.com/office/drawing/2014/main" id="{132D08A5-86FF-AFE6-6813-78D0A6ECFD66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568" r="2935"/>
          <a:stretch/>
        </p:blipFill>
        <p:spPr>
          <a:xfrm>
            <a:off x="1428707" y="2782327"/>
            <a:ext cx="1375357" cy="1293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727465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B2C392-037F-428E-A134-F31BDF0127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enefits</a:t>
            </a:r>
            <a:br>
              <a:rPr lang="en-US" dirty="0"/>
            </a:br>
            <a:endParaRPr lang="en-SG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E3E2235-CFC4-4EDD-A4DD-4BFD5D2D56DD}"/>
              </a:ext>
            </a:extLst>
          </p:cNvPr>
          <p:cNvSpPr txBox="1"/>
          <p:nvPr/>
        </p:nvSpPr>
        <p:spPr>
          <a:xfrm>
            <a:off x="1151069" y="1277815"/>
            <a:ext cx="7664276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G" dirty="0">
                <a:solidFill>
                  <a:schemeClr val="accent6"/>
                </a:solidFill>
                <a:latin typeface="NexusSerif"/>
              </a:rPr>
              <a:t>Foam fractionation has the potential to achieve more than </a:t>
            </a:r>
            <a:r>
              <a:rPr lang="en-SG" b="1" dirty="0">
                <a:solidFill>
                  <a:schemeClr val="accent6"/>
                </a:solidFill>
                <a:latin typeface="NexusSerif"/>
              </a:rPr>
              <a:t>10X concentration factor (equivalent to &gt; 90% volume reduction of waste stream for downstream EO destruction step) </a:t>
            </a:r>
            <a:r>
              <a:rPr lang="en-SG" dirty="0">
                <a:solidFill>
                  <a:schemeClr val="accent6"/>
                </a:solidFill>
                <a:latin typeface="NexusSerif"/>
              </a:rPr>
              <a:t>at a fraction of the cost compared to other conventional PFAS removal technologi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SG" b="0" i="0" dirty="0">
              <a:solidFill>
                <a:schemeClr val="accent6"/>
              </a:solidFill>
              <a:effectLst/>
              <a:latin typeface="NexusSerif"/>
            </a:endParaRPr>
          </a:p>
          <a:p>
            <a:endParaRPr lang="en-SG" b="0" i="0" dirty="0">
              <a:solidFill>
                <a:schemeClr val="accent6"/>
              </a:solidFill>
              <a:effectLst/>
              <a:latin typeface="NexusSerif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SG" b="0" i="0" dirty="0">
              <a:solidFill>
                <a:schemeClr val="accent6"/>
              </a:solidFill>
              <a:effectLst/>
              <a:latin typeface="NexusSerif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SG" b="0" i="0" dirty="0">
              <a:solidFill>
                <a:schemeClr val="accent6"/>
              </a:solidFill>
              <a:effectLst/>
              <a:latin typeface="NexusSerif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0" i="0" dirty="0">
              <a:solidFill>
                <a:schemeClr val="accent6"/>
              </a:solidFill>
              <a:effectLst/>
              <a:latin typeface="NexusSerif"/>
            </a:endParaRPr>
          </a:p>
          <a:p>
            <a:endParaRPr lang="en-SG" dirty="0">
              <a:solidFill>
                <a:schemeClr val="accent6"/>
              </a:solidFill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0288645-2BB8-3C5C-39EF-86A1BC546B0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82187" y="2415281"/>
            <a:ext cx="6500847" cy="390267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0DDE91E-3FAE-2C61-503D-2B9694E078C3}"/>
              </a:ext>
            </a:extLst>
          </p:cNvPr>
          <p:cNvSpPr txBox="1"/>
          <p:nvPr/>
        </p:nvSpPr>
        <p:spPr>
          <a:xfrm>
            <a:off x="2564524" y="6317957"/>
            <a:ext cx="625082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SG" sz="1200" dirty="0"/>
              <a:t>Fig.2. OPEX ($/m3) comparison among other PFAS removal technologies.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DF841E6-4B1A-39C4-B4E6-BC5EEB4F3381}"/>
              </a:ext>
            </a:extLst>
          </p:cNvPr>
          <p:cNvSpPr txBox="1"/>
          <p:nvPr/>
        </p:nvSpPr>
        <p:spPr>
          <a:xfrm>
            <a:off x="8548527" y="2658571"/>
            <a:ext cx="3095930" cy="40934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G" sz="2000" b="1" i="0" dirty="0">
                <a:solidFill>
                  <a:schemeClr val="accent4">
                    <a:lumMod val="75000"/>
                  </a:schemeClr>
                </a:solidFill>
                <a:effectLst/>
                <a:latin typeface="NexusSerif"/>
              </a:rPr>
              <a:t>Benefits: </a:t>
            </a:r>
          </a:p>
          <a:p>
            <a:endParaRPr lang="en-SG" sz="2000" b="1" i="0" dirty="0">
              <a:solidFill>
                <a:schemeClr val="accent4">
                  <a:lumMod val="75000"/>
                </a:schemeClr>
              </a:solidFill>
              <a:effectLst/>
              <a:latin typeface="NexusSerif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accent4">
                    <a:lumMod val="75000"/>
                  </a:schemeClr>
                </a:solidFill>
                <a:latin typeface="NexusSerif"/>
              </a:rPr>
              <a:t>S</a:t>
            </a:r>
            <a:r>
              <a:rPr lang="en-US" sz="2000" b="1" i="0" dirty="0">
                <a:solidFill>
                  <a:schemeClr val="accent4">
                    <a:lumMod val="75000"/>
                  </a:schemeClr>
                </a:solidFill>
                <a:effectLst/>
                <a:latin typeface="NexusSerif"/>
              </a:rPr>
              <a:t>impler to O&amp;M &amp; modularization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accent4">
                    <a:lumMod val="75000"/>
                  </a:schemeClr>
                </a:solidFill>
                <a:latin typeface="NexusSerif"/>
              </a:rPr>
              <a:t>E</a:t>
            </a:r>
            <a:r>
              <a:rPr lang="en-US" sz="2000" b="1" i="0" dirty="0">
                <a:solidFill>
                  <a:schemeClr val="accent4">
                    <a:lumMod val="75000"/>
                  </a:schemeClr>
                </a:solidFill>
                <a:effectLst/>
                <a:latin typeface="NexusSerif"/>
              </a:rPr>
              <a:t>asier deploy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i="0" dirty="0">
                <a:solidFill>
                  <a:schemeClr val="accent4">
                    <a:lumMod val="75000"/>
                  </a:schemeClr>
                </a:solidFill>
                <a:effectLst/>
                <a:latin typeface="NexusSerif"/>
              </a:rPr>
              <a:t>Low chemical consump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i="0" dirty="0">
                <a:solidFill>
                  <a:schemeClr val="accent4">
                    <a:lumMod val="75000"/>
                  </a:schemeClr>
                </a:solidFill>
                <a:effectLst/>
                <a:latin typeface="NexusSerif"/>
              </a:rPr>
              <a:t>Low energy requir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accent4">
                    <a:lumMod val="75000"/>
                  </a:schemeClr>
                </a:solidFill>
                <a:latin typeface="NexusSerif"/>
              </a:rPr>
              <a:t>L</a:t>
            </a:r>
            <a:r>
              <a:rPr lang="en-US" sz="2000" b="1" i="0" dirty="0">
                <a:solidFill>
                  <a:schemeClr val="accent4">
                    <a:lumMod val="75000"/>
                  </a:schemeClr>
                </a:solidFill>
                <a:effectLst/>
                <a:latin typeface="NexusSerif"/>
              </a:rPr>
              <a:t>ow competition with co-contaminants </a:t>
            </a:r>
          </a:p>
          <a:p>
            <a:endParaRPr lang="en-SG" sz="2000" b="1" i="0" dirty="0">
              <a:solidFill>
                <a:schemeClr val="accent4">
                  <a:lumMod val="75000"/>
                </a:schemeClr>
              </a:solidFill>
              <a:effectLst/>
              <a:latin typeface="NexusSerif"/>
            </a:endParaRPr>
          </a:p>
          <a:p>
            <a:endParaRPr lang="en-SG" sz="2000" b="1" i="0" dirty="0">
              <a:solidFill>
                <a:schemeClr val="accent6"/>
              </a:solidFill>
              <a:effectLst/>
              <a:latin typeface="NexusSerif"/>
            </a:endParaRPr>
          </a:p>
          <a:p>
            <a:endParaRPr lang="en-SG" sz="2000" b="1" dirty="0"/>
          </a:p>
        </p:txBody>
      </p:sp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0CAF49EA-AA42-9F00-67D2-23D0928344B9}"/>
              </a:ext>
            </a:extLst>
          </p:cNvPr>
          <p:cNvGraphicFramePr/>
          <p:nvPr/>
        </p:nvGraphicFramePr>
        <p:xfrm>
          <a:off x="-378372" y="2488307"/>
          <a:ext cx="3803572" cy="359969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34868991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6" grpId="0">
        <p:bldAsOne/>
      </p:bldGraphic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DCCE839-CE0A-40F6-A0B1-3DF6AC68FCF2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" smtClean="0"/>
              <a:pPr/>
              <a:t>4</a:t>
            </a:fld>
            <a:endParaRPr lang="e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4FD3301-5D5F-4691-8E7F-D14FC388C52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38881" y="3854449"/>
            <a:ext cx="7547647" cy="1592193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Micron Boise - Lab Testing </a:t>
            </a:r>
            <a:endParaRPr lang="en-SG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265454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9D8A1B-C270-4078-9FFB-055562C286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jectives of lab trials</a:t>
            </a:r>
            <a:endParaRPr lang="en-SG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4FDD34E-AD80-42F4-B76E-0A6087C64EE0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 smtClean="0">
                <a:ln>
                  <a:noFill/>
                </a:ln>
                <a:solidFill>
                  <a:srgbClr val="757C83"/>
                </a:solidFill>
                <a:effectLst/>
                <a:uLnTx/>
                <a:uFillTx/>
                <a:latin typeface="IBM Plex Sans"/>
                <a:sym typeface="IBM Plex San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" sz="1600" b="0" i="0" u="none" strike="noStrike" kern="1200" cap="none" spc="0" normalizeH="0" baseline="0" noProof="0">
              <a:ln>
                <a:noFill/>
              </a:ln>
              <a:solidFill>
                <a:srgbClr val="757C83"/>
              </a:solidFill>
              <a:effectLst/>
              <a:uLnTx/>
              <a:uFillTx/>
              <a:latin typeface="IBM Plex Sans"/>
              <a:sym typeface="IBM Plex Sans"/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CE96E50-E55C-4616-B920-B58E233C79F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324555"/>
            <a:ext cx="10515600" cy="477399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The objectives of the present study </a:t>
            </a:r>
          </a:p>
          <a:p>
            <a:pPr>
              <a:lnSpc>
                <a:spcPct val="100000"/>
              </a:lnSpc>
              <a:buFont typeface="Wingdings" panose="05000000000000000000" pitchFamily="2" charset="2"/>
              <a:buChar char="Ø"/>
            </a:pPr>
            <a:endParaRPr lang="en-US" dirty="0"/>
          </a:p>
          <a:p>
            <a:pPr lvl="1">
              <a:lnSpc>
                <a:spcPct val="100000"/>
              </a:lnSpc>
              <a:buFont typeface="Wingdings" panose="05000000000000000000" pitchFamily="2" charset="2"/>
              <a:buChar char="Ø"/>
            </a:pPr>
            <a:r>
              <a:rPr lang="en-US" dirty="0"/>
              <a:t> To identify the maximum recovery that can be able to achieve through the </a:t>
            </a:r>
            <a:r>
              <a:rPr lang="en-US" dirty="0" err="1"/>
              <a:t>ROi</a:t>
            </a:r>
            <a:r>
              <a:rPr lang="en-US" dirty="0"/>
              <a:t> stage 1 &amp; CFRO stage 2 </a:t>
            </a:r>
          </a:p>
          <a:p>
            <a:pPr marL="533400" lvl="1" indent="0">
              <a:lnSpc>
                <a:spcPct val="100000"/>
              </a:lnSpc>
              <a:buNone/>
            </a:pPr>
            <a:endParaRPr lang="en-US" dirty="0"/>
          </a:p>
          <a:p>
            <a:pPr lvl="1">
              <a:lnSpc>
                <a:spcPct val="100000"/>
              </a:lnSpc>
              <a:buFont typeface="Wingdings" panose="05000000000000000000" pitchFamily="2" charset="2"/>
              <a:buChar char="Ø"/>
            </a:pPr>
            <a:r>
              <a:rPr lang="en-US" dirty="0"/>
              <a:t>To determine the dosage of chemicals required for SCE stage 1  and stage 2 that is needed to bring down Silica, Hardness, and fluoride levels to the required concentrations.</a:t>
            </a:r>
          </a:p>
          <a:p>
            <a:pPr>
              <a:lnSpc>
                <a:spcPct val="100000"/>
              </a:lnSpc>
            </a:pPr>
            <a:endParaRPr lang="en-SG" dirty="0"/>
          </a:p>
        </p:txBody>
      </p:sp>
    </p:spTree>
    <p:extLst>
      <p:ext uri="{BB962C8B-B14F-4D97-AF65-F5344CB8AC3E}">
        <p14:creationId xmlns:p14="http://schemas.microsoft.com/office/powerpoint/2010/main" val="334923442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9D8A1B-C270-4078-9FFB-055562C286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erimental procedures</a:t>
            </a:r>
            <a:endParaRPr lang="en-SG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4FDD34E-AD80-42F4-B76E-0A6087C64EE0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 smtClean="0">
                <a:ln>
                  <a:noFill/>
                </a:ln>
                <a:solidFill>
                  <a:srgbClr val="757C83"/>
                </a:solidFill>
                <a:effectLst/>
                <a:uLnTx/>
                <a:uFillTx/>
                <a:latin typeface="IBM Plex Sans"/>
                <a:sym typeface="IBM Plex San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" sz="1600" b="0" i="0" u="none" strike="noStrike" kern="1200" cap="none" spc="0" normalizeH="0" baseline="0" noProof="0">
              <a:ln>
                <a:noFill/>
              </a:ln>
              <a:solidFill>
                <a:srgbClr val="757C83"/>
              </a:solidFill>
              <a:effectLst/>
              <a:uLnTx/>
              <a:uFillTx/>
              <a:latin typeface="IBM Plex Sans"/>
              <a:sym typeface="IBM Plex Sans"/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CE96E50-E55C-4616-B920-B58E233C79F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324555"/>
            <a:ext cx="10515600" cy="4773990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en-US" dirty="0"/>
              <a:t>Prepared synthetic water according to the feed water parameters</a:t>
            </a:r>
          </a:p>
          <a:p>
            <a:pPr marL="76200" indent="0">
              <a:lnSpc>
                <a:spcPct val="90000"/>
              </a:lnSpc>
              <a:buNone/>
            </a:pPr>
            <a:endParaRPr lang="en-US" dirty="0"/>
          </a:p>
          <a:p>
            <a:pPr>
              <a:lnSpc>
                <a:spcPct val="90000"/>
              </a:lnSpc>
            </a:pPr>
            <a:r>
              <a:rPr lang="en-US" dirty="0"/>
              <a:t>Performed water analysis using Inductively Coupled Plasma Optical Emission Spectroscopy (ICP-OES), Ion Chromatography (IC), and other techniques to confirm feed water parameters </a:t>
            </a:r>
          </a:p>
          <a:p>
            <a:pPr marL="76200" indent="0">
              <a:lnSpc>
                <a:spcPct val="90000"/>
              </a:lnSpc>
              <a:buNone/>
            </a:pPr>
            <a:endParaRPr lang="en-US" dirty="0"/>
          </a:p>
          <a:p>
            <a:pPr>
              <a:lnSpc>
                <a:spcPct val="90000"/>
              </a:lnSpc>
            </a:pPr>
            <a:r>
              <a:rPr lang="en-US" dirty="0"/>
              <a:t>Performed membrane and </a:t>
            </a:r>
            <a:r>
              <a:rPr lang="en-US" dirty="0" err="1"/>
              <a:t>antiscalant</a:t>
            </a:r>
            <a:r>
              <a:rPr lang="en-US" dirty="0"/>
              <a:t> projections to predict maximum recovery </a:t>
            </a:r>
          </a:p>
          <a:p>
            <a:pPr marL="76200" indent="0">
              <a:lnSpc>
                <a:spcPct val="90000"/>
              </a:lnSpc>
              <a:buNone/>
            </a:pPr>
            <a:endParaRPr lang="en-US" dirty="0"/>
          </a:p>
          <a:p>
            <a:pPr>
              <a:lnSpc>
                <a:spcPct val="90000"/>
              </a:lnSpc>
            </a:pPr>
            <a:r>
              <a:rPr lang="en-US" dirty="0"/>
              <a:t>Identified the initial chemical dosages through the OLI and other software</a:t>
            </a:r>
          </a:p>
          <a:p>
            <a:pPr>
              <a:lnSpc>
                <a:spcPct val="90000"/>
              </a:lnSpc>
            </a:pPr>
            <a:endParaRPr lang="en-US" dirty="0"/>
          </a:p>
          <a:p>
            <a:pPr marL="76200" indent="0">
              <a:lnSpc>
                <a:spcPct val="90000"/>
              </a:lnSpc>
              <a:buNone/>
            </a:pPr>
            <a:endParaRPr lang="en-US" dirty="0"/>
          </a:p>
          <a:p>
            <a:pPr>
              <a:lnSpc>
                <a:spcPct val="90000"/>
              </a:lnSpc>
            </a:pPr>
            <a:endParaRPr lang="en-US" dirty="0"/>
          </a:p>
          <a:p>
            <a:pPr>
              <a:lnSpc>
                <a:spcPct val="90000"/>
              </a:lnSpc>
            </a:pPr>
            <a:endParaRPr lang="en-SG" dirty="0"/>
          </a:p>
        </p:txBody>
      </p:sp>
    </p:spTree>
    <p:extLst>
      <p:ext uri="{BB962C8B-B14F-4D97-AF65-F5344CB8AC3E}">
        <p14:creationId xmlns:p14="http://schemas.microsoft.com/office/powerpoint/2010/main" val="403484347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B6C5B0B-C595-4479-BA92-AE99996A903C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 smtClean="0">
                <a:ln>
                  <a:noFill/>
                </a:ln>
                <a:solidFill>
                  <a:srgbClr val="7FCA20"/>
                </a:solidFill>
                <a:effectLst/>
                <a:uLnTx/>
                <a:uFillTx/>
                <a:latin typeface="IBM Plex Sans"/>
                <a:sym typeface="IBM Plex San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" sz="1600" b="0" i="0" u="none" strike="noStrike" kern="1200" cap="none" spc="0" normalizeH="0" baseline="0" noProof="0">
              <a:ln>
                <a:noFill/>
              </a:ln>
              <a:solidFill>
                <a:srgbClr val="7FCA20"/>
              </a:solidFill>
              <a:effectLst/>
              <a:uLnTx/>
              <a:uFillTx/>
              <a:latin typeface="IBM Plex Sans"/>
              <a:sym typeface="IBM Plex San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402C1FA-75A3-4F2B-AF7C-E705A74C675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74261" y="2064208"/>
            <a:ext cx="5943006" cy="1419224"/>
          </a:xfrm>
        </p:spPr>
        <p:txBody>
          <a:bodyPr/>
          <a:lstStyle/>
          <a:p>
            <a:r>
              <a:rPr lang="en-US" sz="3600" dirty="0"/>
              <a:t>Experiments: SCE Stage 1</a:t>
            </a:r>
            <a:br>
              <a:rPr lang="en-US" dirty="0"/>
            </a:br>
            <a:br>
              <a:rPr lang="en-US" dirty="0"/>
            </a:br>
            <a:r>
              <a:rPr lang="en-US" dirty="0"/>
              <a:t>Scheme followed: </a:t>
            </a:r>
            <a:br>
              <a:rPr lang="en-US" dirty="0"/>
            </a:br>
            <a:r>
              <a:rPr lang="en-US" dirty="0"/>
              <a:t>	</a:t>
            </a:r>
            <a:r>
              <a:rPr lang="en-US" sz="3200" dirty="0"/>
              <a:t>- </a:t>
            </a:r>
            <a:r>
              <a:rPr lang="en-US" sz="2800" dirty="0"/>
              <a:t>Jar Testing</a:t>
            </a:r>
            <a:br>
              <a:rPr lang="en-US" dirty="0"/>
            </a:br>
            <a:endParaRPr lang="en-SG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FD460DB-53F4-F257-C931-F1972846527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1853" t="18610" r="13703" b="973"/>
          <a:stretch/>
        </p:blipFill>
        <p:spPr>
          <a:xfrm>
            <a:off x="9564935" y="3429000"/>
            <a:ext cx="1675764" cy="241360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236A6E4-9D7C-0F75-817E-B88F3CAEE0F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391" t="10901" r="3809" b="7211"/>
          <a:stretch/>
        </p:blipFill>
        <p:spPr>
          <a:xfrm>
            <a:off x="9564935" y="1056675"/>
            <a:ext cx="1675764" cy="2015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76294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E9A0EA-E270-4F13-95AC-891526D65F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32120" y="240366"/>
            <a:ext cx="8035600" cy="1084000"/>
          </a:xfr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r>
              <a:rPr lang="en-US" dirty="0"/>
              <a:t>SCE Stage1 Experiment: Synthetic Feed Water Preparation</a:t>
            </a:r>
            <a:endParaRPr lang="en-SG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495601B-DA81-411E-9277-B25FF36453C0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 smtClean="0">
                <a:ln>
                  <a:noFill/>
                </a:ln>
                <a:solidFill>
                  <a:srgbClr val="757C83"/>
                </a:solidFill>
                <a:effectLst/>
                <a:uLnTx/>
                <a:uFillTx/>
                <a:latin typeface="IBM Plex Sans"/>
                <a:sym typeface="IBM Plex San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" sz="1600" b="0" i="0" u="none" strike="noStrike" kern="1200" cap="none" spc="0" normalizeH="0" baseline="0" noProof="0">
              <a:ln>
                <a:noFill/>
              </a:ln>
              <a:solidFill>
                <a:srgbClr val="757C83"/>
              </a:solidFill>
              <a:effectLst/>
              <a:uLnTx/>
              <a:uFillTx/>
              <a:latin typeface="IBM Plex Sans"/>
              <a:sym typeface="IBM Plex San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7664922-2276-4503-828B-744E18B87A78}"/>
              </a:ext>
            </a:extLst>
          </p:cNvPr>
          <p:cNvSpPr/>
          <p:nvPr/>
        </p:nvSpPr>
        <p:spPr>
          <a:xfrm>
            <a:off x="176169" y="6207853"/>
            <a:ext cx="2155970" cy="5756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SG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C32AFBB-47D6-4E84-AEAB-A94523F67CF5}"/>
              </a:ext>
            </a:extLst>
          </p:cNvPr>
          <p:cNvSpPr txBox="1">
            <a:spLocks/>
          </p:cNvSpPr>
          <p:nvPr/>
        </p:nvSpPr>
        <p:spPr>
          <a:xfrm>
            <a:off x="913708" y="1484167"/>
            <a:ext cx="10871249" cy="501148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just" defTabSz="914400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3" name="Picture 12" descr="Table&#10;&#10;Description automatically generated">
            <a:extLst>
              <a:ext uri="{FF2B5EF4-FFF2-40B4-BE49-F238E27FC236}">
                <a16:creationId xmlns:a16="http://schemas.microsoft.com/office/drawing/2014/main" id="{1738B670-B2EA-BCA8-437A-93CB306A655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975"/>
          <a:stretch/>
        </p:blipFill>
        <p:spPr>
          <a:xfrm>
            <a:off x="969652" y="1645659"/>
            <a:ext cx="3976035" cy="4562194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D08A24DC-A8CC-84BB-EA05-2A98596AB18B}"/>
              </a:ext>
            </a:extLst>
          </p:cNvPr>
          <p:cNvSpPr txBox="1"/>
          <p:nvPr/>
        </p:nvSpPr>
        <p:spPr>
          <a:xfrm>
            <a:off x="5314034" y="1680583"/>
            <a:ext cx="59083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Salts were added to prepare synthetic water</a:t>
            </a:r>
          </a:p>
        </p:txBody>
      </p:sp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9F32EF9E-C58E-73C5-D642-2F74069631C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65995631"/>
              </p:ext>
            </p:extLst>
          </p:nvPr>
        </p:nvGraphicFramePr>
        <p:xfrm>
          <a:off x="5314034" y="1969270"/>
          <a:ext cx="5709567" cy="2777990"/>
        </p:xfrm>
        <a:graphic>
          <a:graphicData uri="http://schemas.openxmlformats.org/drawingml/2006/table">
            <a:tbl>
              <a:tblPr/>
              <a:tblGrid>
                <a:gridCol w="556441">
                  <a:extLst>
                    <a:ext uri="{9D8B030D-6E8A-4147-A177-3AD203B41FA5}">
                      <a16:colId xmlns:a16="http://schemas.microsoft.com/office/drawing/2014/main" val="1614349254"/>
                    </a:ext>
                  </a:extLst>
                </a:gridCol>
                <a:gridCol w="1185462">
                  <a:extLst>
                    <a:ext uri="{9D8B030D-6E8A-4147-A177-3AD203B41FA5}">
                      <a16:colId xmlns:a16="http://schemas.microsoft.com/office/drawing/2014/main" val="2568549811"/>
                    </a:ext>
                  </a:extLst>
                </a:gridCol>
                <a:gridCol w="991916">
                  <a:extLst>
                    <a:ext uri="{9D8B030D-6E8A-4147-A177-3AD203B41FA5}">
                      <a16:colId xmlns:a16="http://schemas.microsoft.com/office/drawing/2014/main" val="797681844"/>
                    </a:ext>
                  </a:extLst>
                </a:gridCol>
                <a:gridCol w="991916">
                  <a:extLst>
                    <a:ext uri="{9D8B030D-6E8A-4147-A177-3AD203B41FA5}">
                      <a16:colId xmlns:a16="http://schemas.microsoft.com/office/drawing/2014/main" val="1584260312"/>
                    </a:ext>
                  </a:extLst>
                </a:gridCol>
                <a:gridCol w="991916">
                  <a:extLst>
                    <a:ext uri="{9D8B030D-6E8A-4147-A177-3AD203B41FA5}">
                      <a16:colId xmlns:a16="http://schemas.microsoft.com/office/drawing/2014/main" val="357750486"/>
                    </a:ext>
                  </a:extLst>
                </a:gridCol>
                <a:gridCol w="991916">
                  <a:extLst>
                    <a:ext uri="{9D8B030D-6E8A-4147-A177-3AD203B41FA5}">
                      <a16:colId xmlns:a16="http://schemas.microsoft.com/office/drawing/2014/main" val="3910691339"/>
                    </a:ext>
                  </a:extLst>
                </a:gridCol>
              </a:tblGrid>
              <a:tr h="47961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Quantity required, (g/L)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g/L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L (mg)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L (mg) 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781340"/>
                  </a:ext>
                </a:extLst>
              </a:tr>
              <a:tr h="17686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rSO4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000629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629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289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.578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800914"/>
                  </a:ext>
                </a:extLst>
              </a:tr>
              <a:tr h="17686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a2SiO3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30473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4.73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47.308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094.616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5194343"/>
                  </a:ext>
                </a:extLst>
              </a:tr>
              <a:tr h="17686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aF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01326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.26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2.608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65.215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4696232"/>
                  </a:ext>
                </a:extLst>
              </a:tr>
              <a:tr h="17686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aHCO3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09000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0.00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00.00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00.00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41064"/>
                  </a:ext>
                </a:extLst>
              </a:tr>
              <a:tr h="17686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KCl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007628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.628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6.275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2.55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1332097"/>
                  </a:ext>
                </a:extLst>
              </a:tr>
              <a:tr h="17686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aCl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27130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71.30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713.014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426.028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7096425"/>
                  </a:ext>
                </a:extLst>
              </a:tr>
              <a:tr h="17686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gSO4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007428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.428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4.279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8.558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5699400"/>
                  </a:ext>
                </a:extLst>
              </a:tr>
              <a:tr h="17686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a2SO4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532317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32.317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323.173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646.346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0658975"/>
                  </a:ext>
                </a:extLst>
              </a:tr>
              <a:tr h="17686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aCl2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376747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76.747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767.469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534.939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88434567"/>
                  </a:ext>
                </a:extLst>
              </a:tr>
              <a:tr h="21684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(NH4)2SO4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15035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50.35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503.502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3007.003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4055470"/>
                  </a:ext>
                </a:extLst>
              </a:tr>
              <a:tr h="18773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a3PO4.12H2O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008005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.005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0.05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0.102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240795"/>
                  </a:ext>
                </a:extLst>
              </a:tr>
              <a:tr h="17686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aNO3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05483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4.83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48.31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96.62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2355708"/>
                  </a:ext>
                </a:extLst>
              </a:tr>
            </a:tbl>
          </a:graphicData>
        </a:graphic>
      </p:graphicFrame>
      <p:pic>
        <p:nvPicPr>
          <p:cNvPr id="20" name="Picture 19">
            <a:extLst>
              <a:ext uri="{FF2B5EF4-FFF2-40B4-BE49-F238E27FC236}">
                <a16:creationId xmlns:a16="http://schemas.microsoft.com/office/drawing/2014/main" id="{FD422AC7-870C-A980-F79D-282CF006B36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7636" t="16543" r="29918" b="20617"/>
          <a:stretch/>
        </p:blipFill>
        <p:spPr>
          <a:xfrm>
            <a:off x="5754294" y="5011489"/>
            <a:ext cx="851398" cy="1680583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61ACE62-4BEC-C6B7-10B6-B3AD04B57F0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8724" t="17445" r="24321" b="20371"/>
          <a:stretch/>
        </p:blipFill>
        <p:spPr>
          <a:xfrm>
            <a:off x="6877569" y="5011489"/>
            <a:ext cx="1154428" cy="1680583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2AAD84D4-930C-8DC2-9331-1E1975005C8D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3607" r="14048" b="1502"/>
          <a:stretch/>
        </p:blipFill>
        <p:spPr>
          <a:xfrm>
            <a:off x="8261539" y="5011489"/>
            <a:ext cx="925763" cy="1680583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791A2FB1-E11F-EEEA-2334-7B0B43AC3E48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24129" t="14673" r="16852" b="18885"/>
          <a:stretch/>
        </p:blipFill>
        <p:spPr>
          <a:xfrm>
            <a:off x="9459179" y="5011488"/>
            <a:ext cx="1119626" cy="1680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049873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E9A0EA-E270-4F13-95AC-891526D65F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32120" y="240366"/>
            <a:ext cx="8035600" cy="1084000"/>
          </a:xfr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r>
              <a:rPr lang="en-US" dirty="0"/>
              <a:t> Jar Testing protocols (FeCl3)</a:t>
            </a:r>
            <a:endParaRPr lang="en-SG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495601B-DA81-411E-9277-B25FF36453C0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 smtClean="0">
                <a:ln>
                  <a:noFill/>
                </a:ln>
                <a:solidFill>
                  <a:srgbClr val="757C83"/>
                </a:solidFill>
                <a:effectLst/>
                <a:uLnTx/>
                <a:uFillTx/>
                <a:latin typeface="IBM Plex Sans"/>
                <a:sym typeface="IBM Plex San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" sz="1600" b="0" i="0" u="none" strike="noStrike" kern="1200" cap="none" spc="0" normalizeH="0" baseline="0" noProof="0">
              <a:ln>
                <a:noFill/>
              </a:ln>
              <a:solidFill>
                <a:srgbClr val="757C83"/>
              </a:solidFill>
              <a:effectLst/>
              <a:uLnTx/>
              <a:uFillTx/>
              <a:latin typeface="IBM Plex Sans"/>
              <a:sym typeface="IBM Plex San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7664922-2276-4503-828B-744E18B87A78}"/>
              </a:ext>
            </a:extLst>
          </p:cNvPr>
          <p:cNvSpPr/>
          <p:nvPr/>
        </p:nvSpPr>
        <p:spPr>
          <a:xfrm>
            <a:off x="176169" y="6207853"/>
            <a:ext cx="2155970" cy="5756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SG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C32AFBB-47D6-4E84-AEAB-A94523F67CF5}"/>
              </a:ext>
            </a:extLst>
          </p:cNvPr>
          <p:cNvSpPr txBox="1">
            <a:spLocks/>
          </p:cNvSpPr>
          <p:nvPr/>
        </p:nvSpPr>
        <p:spPr>
          <a:xfrm>
            <a:off x="898255" y="1484167"/>
            <a:ext cx="10871249" cy="501148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just" defTabSz="914400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beaker of 500ml of synthetic water is dosed </a:t>
            </a:r>
            <a:r>
              <a:rPr lang="en-US" sz="1800" dirty="0">
                <a:solidFill>
                  <a:sysClr val="windowText" lastClr="000000"/>
                </a:solidFill>
                <a:latin typeface="Calibri" panose="020F0502020204030204"/>
              </a:rPr>
              <a:t>with different concentrations of FeCl3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just" defTabSz="914400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ce dosed, the mixture was rapidly mixed (200 rpm) for the 30s, &amp; followed by slow mixing (100 rpm) for </a:t>
            </a:r>
            <a:r>
              <a:rPr lang="en-US" sz="1800" dirty="0">
                <a:solidFill>
                  <a:sysClr val="windowText" lastClr="000000"/>
                </a:solidFill>
                <a:latin typeface="Calibri" panose="020F0502020204030204"/>
              </a:rPr>
              <a:t>45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in, pH was measured and adjusted to 8.5 every 15 min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ixing was stopped and the solids were left to settle for over 90 min, allowing the sludge to settle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1800" dirty="0">
                <a:solidFill>
                  <a:sysClr val="windowText" lastClr="000000"/>
                </a:solidFill>
                <a:latin typeface="Calibri" panose="020F0502020204030204"/>
              </a:rPr>
              <a:t>The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pernatant and sludge were collected for analysis</a:t>
            </a:r>
          </a:p>
        </p:txBody>
      </p:sp>
    </p:spTree>
    <p:extLst>
      <p:ext uri="{BB962C8B-B14F-4D97-AF65-F5344CB8AC3E}">
        <p14:creationId xmlns:p14="http://schemas.microsoft.com/office/powerpoint/2010/main" val="41253700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9olj8JSxC4N23MtYVl5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6jPqWXSbmoLya2fnvgUw"/>
</p:tagLst>
</file>

<file path=ppt/theme/theme1.xml><?xml version="1.0" encoding="utf-8"?>
<a:theme xmlns:a="http://schemas.openxmlformats.org/drawingml/2006/main" name="Gradiant">
  <a:themeElements>
    <a:clrScheme name="Custom 347">
      <a:dk1>
        <a:srgbClr val="061E3A"/>
      </a:dk1>
      <a:lt1>
        <a:srgbClr val="FFFFFF"/>
      </a:lt1>
      <a:dk2>
        <a:srgbClr val="757C83"/>
      </a:dk2>
      <a:lt2>
        <a:srgbClr val="EBF0F3"/>
      </a:lt2>
      <a:accent1>
        <a:srgbClr val="7FCA20"/>
      </a:accent1>
      <a:accent2>
        <a:srgbClr val="02C1D3"/>
      </a:accent2>
      <a:accent3>
        <a:srgbClr val="66BDE8"/>
      </a:accent3>
      <a:accent4>
        <a:srgbClr val="1985D2"/>
      </a:accent4>
      <a:accent5>
        <a:srgbClr val="184880"/>
      </a:accent5>
      <a:accent6>
        <a:srgbClr val="061E3A"/>
      </a:accent6>
      <a:hlink>
        <a:srgbClr val="1985D2"/>
      </a:hlink>
      <a:folHlink>
        <a:srgbClr val="6611CC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radiant" id="{B1BF19FE-6F45-49C1-864F-A824288E82EB}" vid="{F7E60791-D85D-4998-8178-6E1AE5311200}"/>
    </a:ext>
  </a:extLst>
</a:theme>
</file>

<file path=ppt/theme/theme2.xml><?xml version="1.0" encoding="utf-8"?>
<a:theme xmlns:a="http://schemas.openxmlformats.org/drawingml/2006/main" name="Gradiant Template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>
            <a:lumMod val="50000"/>
            <a:lumOff val="50000"/>
          </a:schemeClr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smtClean="0">
            <a:latin typeface="Helvetica Neue Thin"/>
            <a:cs typeface="Helvetica Neue Thin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tx1">
              <a:lumMod val="65000"/>
              <a:lumOff val="35000"/>
            </a:schemeClr>
          </a:solidFill>
          <a:headEnd type="none"/>
          <a:tailEnd type="none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>
            <a:solidFill>
              <a:schemeClr val="tx1">
                <a:lumMod val="75000"/>
                <a:lumOff val="25000"/>
              </a:schemeClr>
            </a:solidFill>
            <a:latin typeface="Helvetica Neue Light"/>
            <a:cs typeface="Helvetica Neue Ligh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Gradiant Template [Compatibility Mode]" id="{4449E757-8809-45A3-AC92-B9BD24E521DA}" vid="{846EAE75-CDB0-4565-ABFC-2F24CB7FCAB6}"/>
    </a:ext>
  </a:extLst>
</a:theme>
</file>

<file path=ppt/theme/theme3.xml><?xml version="1.0" encoding="utf-8"?>
<a:theme xmlns:a="http://schemas.openxmlformats.org/drawingml/2006/main" name="Gradiant Main">
  <a:themeElements>
    <a:clrScheme name="Custom 2">
      <a:dk1>
        <a:sysClr val="windowText" lastClr="000000"/>
      </a:dk1>
      <a:lt1>
        <a:sysClr val="window" lastClr="FFFFFF"/>
      </a:lt1>
      <a:dk2>
        <a:srgbClr val="2C3C43"/>
      </a:dk2>
      <a:lt2>
        <a:srgbClr val="EBEBEB"/>
      </a:lt2>
      <a:accent1>
        <a:srgbClr val="29A6DD"/>
      </a:accent1>
      <a:accent2>
        <a:srgbClr val="87D63F"/>
      </a:accent2>
      <a:accent3>
        <a:srgbClr val="30C6BB"/>
      </a:accent3>
      <a:accent4>
        <a:srgbClr val="5F7584"/>
      </a:accent4>
      <a:accent5>
        <a:srgbClr val="30C6BB"/>
      </a:accent5>
      <a:accent6>
        <a:srgbClr val="87D63F"/>
      </a:accent6>
      <a:hlink>
        <a:srgbClr val="29A6DD"/>
      </a:hlink>
      <a:folHlink>
        <a:srgbClr val="5F7584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540673323D1144D873BA7C222ED3D1B" ma:contentTypeVersion="13" ma:contentTypeDescription="Create a new document." ma:contentTypeScope="" ma:versionID="a5b1be9f823c097e36de770aa86711fe">
  <xsd:schema xmlns:xsd="http://www.w3.org/2001/XMLSchema" xmlns:xs="http://www.w3.org/2001/XMLSchema" xmlns:p="http://schemas.microsoft.com/office/2006/metadata/properties" xmlns:ns2="7847ee4b-d4dc-40cd-997c-57bfdcd8b5cc" xmlns:ns3="dfa653b6-8f75-49cd-860f-fac65c77d917" targetNamespace="http://schemas.microsoft.com/office/2006/metadata/properties" ma:root="true" ma:fieldsID="b2c97a832bc73a2dd8c7b173ac696ab6" ns2:_="" ns3:_="">
    <xsd:import namespace="7847ee4b-d4dc-40cd-997c-57bfdcd8b5cc"/>
    <xsd:import namespace="dfa653b6-8f75-49cd-860f-fac65c77d91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847ee4b-d4dc-40cd-997c-57bfdcd8b5c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21314e52-6724-4b18-8467-0e99aa107f7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fa653b6-8f75-49cd-860f-fac65c77d917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4ca4788a-e211-4e8a-a860-af2af1a5bf2b}" ma:internalName="TaxCatchAll" ma:showField="CatchAllData" ma:web="dfa653b6-8f75-49cd-860f-fac65c77d91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7847ee4b-d4dc-40cd-997c-57bfdcd8b5cc">
      <Terms xmlns="http://schemas.microsoft.com/office/infopath/2007/PartnerControls"/>
    </lcf76f155ced4ddcb4097134ff3c332f>
    <TaxCatchAll xmlns="dfa653b6-8f75-49cd-860f-fac65c77d917" xsi:nil="true"/>
    <MediaLengthInSeconds xmlns="7847ee4b-d4dc-40cd-997c-57bfdcd8b5cc" xsi:nil="true"/>
  </documentManagement>
</p:properties>
</file>

<file path=customXml/itemProps1.xml><?xml version="1.0" encoding="utf-8"?>
<ds:datastoreItem xmlns:ds="http://schemas.openxmlformats.org/officeDocument/2006/customXml" ds:itemID="{5C7C75ED-A2F0-4614-B167-83D17EB4288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0C7519F-7FF6-4207-A75E-2FB273CC371C}"/>
</file>

<file path=customXml/itemProps3.xml><?xml version="1.0" encoding="utf-8"?>
<ds:datastoreItem xmlns:ds="http://schemas.openxmlformats.org/officeDocument/2006/customXml" ds:itemID="{198EB18D-0D28-4DFD-AB13-9F084C082418}">
  <ds:schemaRefs>
    <ds:schemaRef ds:uri="453b7563-98dd-4e0f-85f5-23e8a45d173a"/>
    <ds:schemaRef ds:uri="http://purl.org/dc/dcmitype/"/>
    <ds:schemaRef ds:uri="http://www.w3.org/XML/1998/namespace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purl.org/dc/terms/"/>
    <ds:schemaRef ds:uri="http://schemas.microsoft.com/office/infopath/2007/PartnerControls"/>
    <ds:schemaRef ds:uri="http://schemas.openxmlformats.org/package/2006/metadata/core-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Gradiant</Template>
  <TotalTime>4039</TotalTime>
  <Words>1838</Words>
  <Application>Microsoft Office PowerPoint</Application>
  <PresentationFormat>Widescreen</PresentationFormat>
  <Paragraphs>532</Paragraphs>
  <Slides>33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16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3</vt:i4>
      </vt:variant>
    </vt:vector>
  </HeadingPairs>
  <TitlesOfParts>
    <vt:vector size="53" baseType="lpstr">
      <vt:lpstr>Adobe Myungjo Std M</vt:lpstr>
      <vt:lpstr>Arial</vt:lpstr>
      <vt:lpstr>Arial Nova Cond</vt:lpstr>
      <vt:lpstr>Arkhip</vt:lpstr>
      <vt:lpstr>Calibri</vt:lpstr>
      <vt:lpstr>Calibri Light</vt:lpstr>
      <vt:lpstr>Courier New</vt:lpstr>
      <vt:lpstr>Helvetica Neue Light</vt:lpstr>
      <vt:lpstr>Helvetica Neue Thin</vt:lpstr>
      <vt:lpstr>IBM Plex Sans</vt:lpstr>
      <vt:lpstr>IBM Plex Sans Light</vt:lpstr>
      <vt:lpstr>Merriweather</vt:lpstr>
      <vt:lpstr>NexusSerif</vt:lpstr>
      <vt:lpstr>TT Norms Regular</vt:lpstr>
      <vt:lpstr>Verdana</vt:lpstr>
      <vt:lpstr>Wingdings</vt:lpstr>
      <vt:lpstr>Gradiant</vt:lpstr>
      <vt:lpstr>Gradiant Template</vt:lpstr>
      <vt:lpstr>Gradiant Main</vt:lpstr>
      <vt:lpstr>think-cell Slide</vt:lpstr>
      <vt:lpstr>PowerPoint Presentation</vt:lpstr>
      <vt:lpstr>INFLUENT WASTEWATER QUALITY</vt:lpstr>
      <vt:lpstr>TREATED WATER QUALITY</vt:lpstr>
      <vt:lpstr>Micron Boise - Lab Testing </vt:lpstr>
      <vt:lpstr>Objectives of lab trials</vt:lpstr>
      <vt:lpstr>Experimental procedures</vt:lpstr>
      <vt:lpstr>Experiments: SCE Stage 1  Scheme followed:   - Jar Testing </vt:lpstr>
      <vt:lpstr>SCE Stage1 Experiment: Synthetic Feed Water Preparation</vt:lpstr>
      <vt:lpstr> Jar Testing protocols (FeCl3)</vt:lpstr>
      <vt:lpstr>Experimental pictures: Jar Testing (FeCl3)</vt:lpstr>
      <vt:lpstr>SCE STAGE 1- Jar Testing Treated Water Analysis</vt:lpstr>
      <vt:lpstr> Experiments: ROi Stage 1  Scheme followed:   - semi-batch RO  </vt:lpstr>
      <vt:lpstr>ROi Stage 1 – Lab setup</vt:lpstr>
      <vt:lpstr>Initial and final concentrations: Refractive Index and TDS</vt:lpstr>
      <vt:lpstr>ROi Stage 1 : Experimental results</vt:lpstr>
      <vt:lpstr> Experiments: SCE Stage 2  Scheme followed:   - Jar Testing </vt:lpstr>
      <vt:lpstr> SCE stage 2: Jar Testing protocols </vt:lpstr>
      <vt:lpstr>Experimental pictures: Jar Testing stage 2</vt:lpstr>
      <vt:lpstr>SCE STAGE 2- Jar Testing Treated Water Analysis</vt:lpstr>
      <vt:lpstr> Experiments: CFRO  Scheme followed:   - CFRO membrane testing </vt:lpstr>
      <vt:lpstr>CFRO membrane lab setup</vt:lpstr>
      <vt:lpstr>CFRO Stage 2 : Experimental results</vt:lpstr>
      <vt:lpstr>CFRO Stage 2 : Experimental results</vt:lpstr>
      <vt:lpstr> Experiments: Zero Liquid Discharge  Scheme followed:   - Adiabatic Chiller, CGE and   Crystallizer/Centrifuge </vt:lpstr>
      <vt:lpstr>Test objective using Adiabatic Chiller/Centrifuge</vt:lpstr>
      <vt:lpstr>Adiabatic Chiller: Experimental procedures</vt:lpstr>
      <vt:lpstr>Centrifuge/Crystallizer: Experimental results</vt:lpstr>
      <vt:lpstr>CGE and ATFD for Mixed salts: Experimental results</vt:lpstr>
      <vt:lpstr>Conclusion/summary</vt:lpstr>
      <vt:lpstr>Back up</vt:lpstr>
      <vt:lpstr>PowerPoint Presentation</vt:lpstr>
      <vt:lpstr>Foam fractionation - Separation </vt:lpstr>
      <vt:lpstr>Benefits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icron HFW</dc:title>
  <dc:creator>siva@gradiant.com</dc:creator>
  <cp:lastModifiedBy>Siva Kumar Kota</cp:lastModifiedBy>
  <cp:revision>158</cp:revision>
  <dcterms:created xsi:type="dcterms:W3CDTF">2021-08-26T05:11:58Z</dcterms:created>
  <dcterms:modified xsi:type="dcterms:W3CDTF">2023-04-25T05:37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540673323D1144D873BA7C222ED3D1B</vt:lpwstr>
  </property>
  <property fmtid="{D5CDD505-2E9C-101B-9397-08002B2CF9AE}" pid="3" name="Order">
    <vt:lpwstr>800.000000000000</vt:lpwstr>
  </property>
  <property fmtid="{D5CDD505-2E9C-101B-9397-08002B2CF9AE}" pid="4" name="xd_ProgID">
    <vt:lpwstr/>
  </property>
  <property fmtid="{D5CDD505-2E9C-101B-9397-08002B2CF9AE}" pid="5" name="MediaServiceImageTags">
    <vt:lpwstr/>
  </property>
  <property fmtid="{D5CDD505-2E9C-101B-9397-08002B2CF9AE}" pid="6" name="_SourceUrl">
    <vt:lpwstr/>
  </property>
  <property fmtid="{D5CDD505-2E9C-101B-9397-08002B2CF9AE}" pid="7" name="_SharedFileIndex">
    <vt:lpwstr/>
  </property>
  <property fmtid="{D5CDD505-2E9C-101B-9397-08002B2CF9AE}" pid="8" name="ComplianceAssetId">
    <vt:lpwstr/>
  </property>
  <property fmtid="{D5CDD505-2E9C-101B-9397-08002B2CF9AE}" pid="9" name="TemplateUrl">
    <vt:lpwstr/>
  </property>
  <property fmtid="{D5CDD505-2E9C-101B-9397-08002B2CF9AE}" pid="10" name="_ExtendedDescription">
    <vt:lpwstr/>
  </property>
  <property fmtid="{D5CDD505-2E9C-101B-9397-08002B2CF9AE}" pid="11" name="TriggerFlowInfo">
    <vt:lpwstr/>
  </property>
  <property fmtid="{D5CDD505-2E9C-101B-9397-08002B2CF9AE}" pid="12" name="xd_Signature">
    <vt:lpwstr/>
  </property>
</Properties>
</file>